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2"/>
  </p:notesMasterIdLst>
  <p:sldIdLst>
    <p:sldId id="256" r:id="rId5"/>
    <p:sldId id="264" r:id="rId6"/>
    <p:sldId id="265" r:id="rId7"/>
    <p:sldId id="266" r:id="rId8"/>
    <p:sldId id="267" r:id="rId9"/>
    <p:sldId id="268" r:id="rId10"/>
    <p:sldId id="272" r:id="rId11"/>
    <p:sldId id="273" r:id="rId12"/>
    <p:sldId id="274" r:id="rId13"/>
    <p:sldId id="275" r:id="rId14"/>
    <p:sldId id="276" r:id="rId15"/>
    <p:sldId id="277" r:id="rId16"/>
    <p:sldId id="278" r:id="rId17"/>
    <p:sldId id="279" r:id="rId18"/>
    <p:sldId id="280" r:id="rId19"/>
    <p:sldId id="281" r:id="rId20"/>
    <p:sldId id="282" r:id="rId21"/>
    <p:sldId id="283" r:id="rId22"/>
    <p:sldId id="285" r:id="rId23"/>
    <p:sldId id="286" r:id="rId24"/>
    <p:sldId id="284" r:id="rId25"/>
    <p:sldId id="287" r:id="rId26"/>
    <p:sldId id="3127" r:id="rId27"/>
    <p:sldId id="290" r:id="rId28"/>
    <p:sldId id="291" r:id="rId29"/>
    <p:sldId id="293" r:id="rId30"/>
    <p:sldId id="294" r:id="rId31"/>
  </p:sldIdLst>
  <p:sldSz cx="9144000" cy="6858000" type="screen4x3"/>
  <p:notesSz cx="6950075" cy="9236075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4320" userDrawn="1">
          <p15:clr>
            <a:srgbClr val="A4A3A4"/>
          </p15:clr>
        </p15:guide>
        <p15:guide id="4" orient="horz" userDrawn="1">
          <p15:clr>
            <a:srgbClr val="A4A3A4"/>
          </p15:clr>
        </p15:guide>
        <p15:guide id="6" pos="57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ad Kostka" initials="BK" lastIdx="0" clrIdx="0">
    <p:extLst>
      <p:ext uri="{19B8F6BF-5375-455C-9EA6-DF929625EA0E}">
        <p15:presenceInfo xmlns:p15="http://schemas.microsoft.com/office/powerpoint/2012/main" userId="S::bkostka@roopco.com::5bf04b9e-3f2b-4203-8d7a-b84b746d51c3" providerId="AD"/>
      </p:ext>
    </p:extLst>
  </p:cmAuthor>
  <p:cmAuthor id="2" name="Joe Toula" initials="JT" lastIdx="0" clrIdx="1">
    <p:extLst>
      <p:ext uri="{19B8F6BF-5375-455C-9EA6-DF929625EA0E}">
        <p15:presenceInfo xmlns:p15="http://schemas.microsoft.com/office/powerpoint/2012/main" userId="S::jtoula@rpminc.com::2df48d24-f262-454e-ad9c-9a6f9fc72b19" providerId="AD"/>
      </p:ext>
    </p:extLst>
  </p:cmAuthor>
  <p:cmAuthor id="3" name="Cain, Caroline" initials="CC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933477-4D07-4C09-A17A-3A802E2CF507}" v="7" dt="2024-03-25T18:36:47.471"/>
    <p1510:client id="{5F9A5095-15C7-4BF8-A3D7-9D6D94260068}" v="455" dt="2024-03-25T15:14:30.2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53" autoAdjust="0"/>
    <p:restoredTop sz="95187" autoAdjust="0"/>
  </p:normalViewPr>
  <p:slideViewPr>
    <p:cSldViewPr snapToGrid="0">
      <p:cViewPr varScale="1">
        <p:scale>
          <a:sx n="108" d="100"/>
          <a:sy n="108" d="100"/>
        </p:scale>
        <p:origin x="1662" y="150"/>
      </p:cViewPr>
      <p:guideLst>
        <p:guide orient="horz" pos="2184"/>
        <p:guide pos="2880"/>
        <p:guide orient="horz" pos="4320"/>
        <p:guide orient="horz"/>
        <p:guide pos="5760"/>
      </p:guideLst>
    </p:cSldViewPr>
  </p:slideViewPr>
  <p:outlineViewPr>
    <p:cViewPr>
      <p:scale>
        <a:sx n="33" d="100"/>
        <a:sy n="33" d="100"/>
      </p:scale>
      <p:origin x="0" y="-944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elley Earl" userId="4951d46f-b647-4b3c-b822-5808962dcca8" providerId="ADAL" clId="{12933477-4D07-4C09-A17A-3A802E2CF507}"/>
    <pc:docChg chg="modSld">
      <pc:chgData name="Shelley Earl" userId="4951d46f-b647-4b3c-b822-5808962dcca8" providerId="ADAL" clId="{12933477-4D07-4C09-A17A-3A802E2CF507}" dt="2024-03-25T18:36:47.471" v="6" actId="255"/>
      <pc:docMkLst>
        <pc:docMk/>
      </pc:docMkLst>
      <pc:sldChg chg="modSp">
        <pc:chgData name="Shelley Earl" userId="4951d46f-b647-4b3c-b822-5808962dcca8" providerId="ADAL" clId="{12933477-4D07-4C09-A17A-3A802E2CF507}" dt="2024-03-25T18:36:39.225" v="5" actId="27636"/>
        <pc:sldMkLst>
          <pc:docMk/>
          <pc:sldMk cId="829028075" sldId="275"/>
        </pc:sldMkLst>
        <pc:graphicFrameChg chg="mod">
          <ac:chgData name="Shelley Earl" userId="4951d46f-b647-4b3c-b822-5808962dcca8" providerId="ADAL" clId="{12933477-4D07-4C09-A17A-3A802E2CF507}" dt="2024-03-25T18:36:39.225" v="5" actId="27636"/>
          <ac:graphicFrameMkLst>
            <pc:docMk/>
            <pc:sldMk cId="829028075" sldId="275"/>
            <ac:graphicFrameMk id="13" creationId="{A605F809-B93D-1529-EAB4-05210895DD47}"/>
          </ac:graphicFrameMkLst>
        </pc:graphicFrameChg>
      </pc:sldChg>
      <pc:sldChg chg="modSp">
        <pc:chgData name="Shelley Earl" userId="4951d46f-b647-4b3c-b822-5808962dcca8" providerId="ADAL" clId="{12933477-4D07-4C09-A17A-3A802E2CF507}" dt="2024-03-25T18:36:47.471" v="6" actId="255"/>
        <pc:sldMkLst>
          <pc:docMk/>
          <pc:sldMk cId="969127443" sldId="278"/>
        </pc:sldMkLst>
        <pc:graphicFrameChg chg="mod">
          <ac:chgData name="Shelley Earl" userId="4951d46f-b647-4b3c-b822-5808962dcca8" providerId="ADAL" clId="{12933477-4D07-4C09-A17A-3A802E2CF507}" dt="2024-03-25T18:36:47.471" v="6" actId="255"/>
          <ac:graphicFrameMkLst>
            <pc:docMk/>
            <pc:sldMk cId="969127443" sldId="278"/>
            <ac:graphicFrameMk id="8" creationId="{25435880-DE83-4AE6-0C0C-E8BEDD12548D}"/>
          </ac:graphicFrameMkLst>
        </pc:graphicFrameChg>
      </pc:sldChg>
    </pc:docChg>
  </pc:docChgLst>
  <pc:docChgLst>
    <pc:chgData name="Shelley Earl" userId="4951d46f-b647-4b3c-b822-5808962dcca8" providerId="ADAL" clId="{5F9A5095-15C7-4BF8-A3D7-9D6D94260068}"/>
    <pc:docChg chg="undo custSel addSld delSld modSld sldOrd">
      <pc:chgData name="Shelley Earl" userId="4951d46f-b647-4b3c-b822-5808962dcca8" providerId="ADAL" clId="{5F9A5095-15C7-4BF8-A3D7-9D6D94260068}" dt="2024-03-25T15:16:22.607" v="1141" actId="47"/>
      <pc:docMkLst>
        <pc:docMk/>
      </pc:docMkLst>
      <pc:sldChg chg="modSp mod">
        <pc:chgData name="Shelley Earl" userId="4951d46f-b647-4b3c-b822-5808962dcca8" providerId="ADAL" clId="{5F9A5095-15C7-4BF8-A3D7-9D6D94260068}" dt="2024-03-25T15:13:42.543" v="1028" actId="20577"/>
        <pc:sldMkLst>
          <pc:docMk/>
          <pc:sldMk cId="2097898915" sldId="264"/>
        </pc:sldMkLst>
        <pc:spChg chg="mod">
          <ac:chgData name="Shelley Earl" userId="4951d46f-b647-4b3c-b822-5808962dcca8" providerId="ADAL" clId="{5F9A5095-15C7-4BF8-A3D7-9D6D94260068}" dt="2024-03-25T15:13:42.543" v="1028" actId="20577"/>
          <ac:spMkLst>
            <pc:docMk/>
            <pc:sldMk cId="2097898915" sldId="264"/>
            <ac:spMk id="8" creationId="{87671493-6848-DBAF-4C09-CA1EE485840B}"/>
          </ac:spMkLst>
        </pc:spChg>
      </pc:sldChg>
      <pc:sldChg chg="modSp">
        <pc:chgData name="Shelley Earl" userId="4951d46f-b647-4b3c-b822-5808962dcca8" providerId="ADAL" clId="{5F9A5095-15C7-4BF8-A3D7-9D6D94260068}" dt="2024-03-25T14:32:37.392" v="19" actId="20577"/>
        <pc:sldMkLst>
          <pc:docMk/>
          <pc:sldMk cId="3009587968" sldId="268"/>
        </pc:sldMkLst>
        <pc:graphicFrameChg chg="mod">
          <ac:chgData name="Shelley Earl" userId="4951d46f-b647-4b3c-b822-5808962dcca8" providerId="ADAL" clId="{5F9A5095-15C7-4BF8-A3D7-9D6D94260068}" dt="2024-03-25T14:32:37.392" v="19" actId="20577"/>
          <ac:graphicFrameMkLst>
            <pc:docMk/>
            <pc:sldMk cId="3009587968" sldId="268"/>
            <ac:graphicFrameMk id="11" creationId="{29D13C8E-8DED-44C4-E9EA-CA8A2E541890}"/>
          </ac:graphicFrameMkLst>
        </pc:graphicFrameChg>
      </pc:sldChg>
      <pc:sldChg chg="modSp mod">
        <pc:chgData name="Shelley Earl" userId="4951d46f-b647-4b3c-b822-5808962dcca8" providerId="ADAL" clId="{5F9A5095-15C7-4BF8-A3D7-9D6D94260068}" dt="2024-03-25T14:39:49.824" v="312" actId="20577"/>
        <pc:sldMkLst>
          <pc:docMk/>
          <pc:sldMk cId="2177728087" sldId="272"/>
        </pc:sldMkLst>
        <pc:spChg chg="mod">
          <ac:chgData name="Shelley Earl" userId="4951d46f-b647-4b3c-b822-5808962dcca8" providerId="ADAL" clId="{5F9A5095-15C7-4BF8-A3D7-9D6D94260068}" dt="2024-03-25T14:39:49.824" v="312" actId="20577"/>
          <ac:spMkLst>
            <pc:docMk/>
            <pc:sldMk cId="2177728087" sldId="272"/>
            <ac:spMk id="8" creationId="{F639AE83-D0E3-35F9-4EDD-3B02A67DEA40}"/>
          </ac:spMkLst>
        </pc:spChg>
      </pc:sldChg>
      <pc:sldChg chg="modSp mod">
        <pc:chgData name="Shelley Earl" userId="4951d46f-b647-4b3c-b822-5808962dcca8" providerId="ADAL" clId="{5F9A5095-15C7-4BF8-A3D7-9D6D94260068}" dt="2024-03-25T14:35:34.842" v="127" actId="6549"/>
        <pc:sldMkLst>
          <pc:docMk/>
          <pc:sldMk cId="832071717" sldId="273"/>
        </pc:sldMkLst>
        <pc:spChg chg="mod">
          <ac:chgData name="Shelley Earl" userId="4951d46f-b647-4b3c-b822-5808962dcca8" providerId="ADAL" clId="{5F9A5095-15C7-4BF8-A3D7-9D6D94260068}" dt="2024-03-25T14:35:34.842" v="127" actId="6549"/>
          <ac:spMkLst>
            <pc:docMk/>
            <pc:sldMk cId="832071717" sldId="273"/>
            <ac:spMk id="8" creationId="{150F00E2-00FB-9955-A67E-6B6D62965415}"/>
          </ac:spMkLst>
        </pc:spChg>
      </pc:sldChg>
      <pc:sldChg chg="modSp mod">
        <pc:chgData name="Shelley Earl" userId="4951d46f-b647-4b3c-b822-5808962dcca8" providerId="ADAL" clId="{5F9A5095-15C7-4BF8-A3D7-9D6D94260068}" dt="2024-03-25T14:37:15.329" v="155" actId="20577"/>
        <pc:sldMkLst>
          <pc:docMk/>
          <pc:sldMk cId="3481431200" sldId="274"/>
        </pc:sldMkLst>
        <pc:spChg chg="mod">
          <ac:chgData name="Shelley Earl" userId="4951d46f-b647-4b3c-b822-5808962dcca8" providerId="ADAL" clId="{5F9A5095-15C7-4BF8-A3D7-9D6D94260068}" dt="2024-03-25T14:37:15.329" v="155" actId="20577"/>
          <ac:spMkLst>
            <pc:docMk/>
            <pc:sldMk cId="3481431200" sldId="274"/>
            <ac:spMk id="15" creationId="{A57ADB30-AA57-FF7E-1163-C8F0957A0B76}"/>
          </ac:spMkLst>
        </pc:spChg>
        <pc:graphicFrameChg chg="mod">
          <ac:chgData name="Shelley Earl" userId="4951d46f-b647-4b3c-b822-5808962dcca8" providerId="ADAL" clId="{5F9A5095-15C7-4BF8-A3D7-9D6D94260068}" dt="2024-03-25T14:36:32.112" v="142" actId="20577"/>
          <ac:graphicFrameMkLst>
            <pc:docMk/>
            <pc:sldMk cId="3481431200" sldId="274"/>
            <ac:graphicFrameMk id="11" creationId="{5C8EE2C3-03A6-ABAF-3E18-D116DCC72FC4}"/>
          </ac:graphicFrameMkLst>
        </pc:graphicFrameChg>
      </pc:sldChg>
      <pc:sldChg chg="modSp">
        <pc:chgData name="Shelley Earl" userId="4951d46f-b647-4b3c-b822-5808962dcca8" providerId="ADAL" clId="{5F9A5095-15C7-4BF8-A3D7-9D6D94260068}" dt="2024-03-25T14:39:19.046" v="306" actId="115"/>
        <pc:sldMkLst>
          <pc:docMk/>
          <pc:sldMk cId="829028075" sldId="275"/>
        </pc:sldMkLst>
        <pc:graphicFrameChg chg="mod">
          <ac:chgData name="Shelley Earl" userId="4951d46f-b647-4b3c-b822-5808962dcca8" providerId="ADAL" clId="{5F9A5095-15C7-4BF8-A3D7-9D6D94260068}" dt="2024-03-25T14:39:19.046" v="306" actId="115"/>
          <ac:graphicFrameMkLst>
            <pc:docMk/>
            <pc:sldMk cId="829028075" sldId="275"/>
            <ac:graphicFrameMk id="13" creationId="{A605F809-B93D-1529-EAB4-05210895DD47}"/>
          </ac:graphicFrameMkLst>
        </pc:graphicFrameChg>
      </pc:sldChg>
      <pc:sldChg chg="modSp mod">
        <pc:chgData name="Shelley Earl" userId="4951d46f-b647-4b3c-b822-5808962dcca8" providerId="ADAL" clId="{5F9A5095-15C7-4BF8-A3D7-9D6D94260068}" dt="2024-03-25T14:39:41.444" v="310" actId="20577"/>
        <pc:sldMkLst>
          <pc:docMk/>
          <pc:sldMk cId="639071407" sldId="276"/>
        </pc:sldMkLst>
        <pc:spChg chg="mod">
          <ac:chgData name="Shelley Earl" userId="4951d46f-b647-4b3c-b822-5808962dcca8" providerId="ADAL" clId="{5F9A5095-15C7-4BF8-A3D7-9D6D94260068}" dt="2024-03-25T14:39:41.444" v="310" actId="20577"/>
          <ac:spMkLst>
            <pc:docMk/>
            <pc:sldMk cId="639071407" sldId="276"/>
            <ac:spMk id="3" creationId="{D9823FF2-551E-7D6F-6CCD-EA59870F378E}"/>
          </ac:spMkLst>
        </pc:spChg>
      </pc:sldChg>
      <pc:sldChg chg="modSp mod">
        <pc:chgData name="Shelley Earl" userId="4951d46f-b647-4b3c-b822-5808962dcca8" providerId="ADAL" clId="{5F9A5095-15C7-4BF8-A3D7-9D6D94260068}" dt="2024-03-25T14:40:58.944" v="318" actId="6549"/>
        <pc:sldMkLst>
          <pc:docMk/>
          <pc:sldMk cId="4165849477" sldId="277"/>
        </pc:sldMkLst>
        <pc:spChg chg="mod">
          <ac:chgData name="Shelley Earl" userId="4951d46f-b647-4b3c-b822-5808962dcca8" providerId="ADAL" clId="{5F9A5095-15C7-4BF8-A3D7-9D6D94260068}" dt="2024-03-25T14:40:58.944" v="318" actId="6549"/>
          <ac:spMkLst>
            <pc:docMk/>
            <pc:sldMk cId="4165849477" sldId="277"/>
            <ac:spMk id="3" creationId="{800FB85F-FAA5-6EF4-2934-3E9F00A24524}"/>
          </ac:spMkLst>
        </pc:spChg>
      </pc:sldChg>
      <pc:sldChg chg="modSp mod">
        <pc:chgData name="Shelley Earl" userId="4951d46f-b647-4b3c-b822-5808962dcca8" providerId="ADAL" clId="{5F9A5095-15C7-4BF8-A3D7-9D6D94260068}" dt="2024-03-25T14:43:50.620" v="320" actId="1076"/>
        <pc:sldMkLst>
          <pc:docMk/>
          <pc:sldMk cId="969127443" sldId="278"/>
        </pc:sldMkLst>
        <pc:spChg chg="mod">
          <ac:chgData name="Shelley Earl" userId="4951d46f-b647-4b3c-b822-5808962dcca8" providerId="ADAL" clId="{5F9A5095-15C7-4BF8-A3D7-9D6D94260068}" dt="2024-03-25T14:43:50.620" v="320" actId="1076"/>
          <ac:spMkLst>
            <pc:docMk/>
            <pc:sldMk cId="969127443" sldId="278"/>
            <ac:spMk id="9" creationId="{72F99416-9CFC-4A6D-56C2-F38A9754D7B6}"/>
          </ac:spMkLst>
        </pc:spChg>
        <pc:graphicFrameChg chg="mod">
          <ac:chgData name="Shelley Earl" userId="4951d46f-b647-4b3c-b822-5808962dcca8" providerId="ADAL" clId="{5F9A5095-15C7-4BF8-A3D7-9D6D94260068}" dt="2024-03-25T14:42:49.488" v="319" actId="20577"/>
          <ac:graphicFrameMkLst>
            <pc:docMk/>
            <pc:sldMk cId="969127443" sldId="278"/>
            <ac:graphicFrameMk id="8" creationId="{25435880-DE83-4AE6-0C0C-E8BEDD12548D}"/>
          </ac:graphicFrameMkLst>
        </pc:graphicFrameChg>
      </pc:sldChg>
      <pc:sldChg chg="modSp">
        <pc:chgData name="Shelley Earl" userId="4951d46f-b647-4b3c-b822-5808962dcca8" providerId="ADAL" clId="{5F9A5095-15C7-4BF8-A3D7-9D6D94260068}" dt="2024-03-25T14:49:50.648" v="536" actId="20577"/>
        <pc:sldMkLst>
          <pc:docMk/>
          <pc:sldMk cId="4199026466" sldId="279"/>
        </pc:sldMkLst>
        <pc:spChg chg="mod">
          <ac:chgData name="Shelley Earl" userId="4951d46f-b647-4b3c-b822-5808962dcca8" providerId="ADAL" clId="{5F9A5095-15C7-4BF8-A3D7-9D6D94260068}" dt="2024-03-25T14:49:50.648" v="536" actId="20577"/>
          <ac:spMkLst>
            <pc:docMk/>
            <pc:sldMk cId="4199026466" sldId="279"/>
            <ac:spMk id="3" creationId="{7A675047-B99C-FF66-70F8-F831DAF17610}"/>
          </ac:spMkLst>
        </pc:spChg>
      </pc:sldChg>
      <pc:sldChg chg="modSp">
        <pc:chgData name="Shelley Earl" userId="4951d46f-b647-4b3c-b822-5808962dcca8" providerId="ADAL" clId="{5F9A5095-15C7-4BF8-A3D7-9D6D94260068}" dt="2024-03-25T14:51:44.613" v="544"/>
        <pc:sldMkLst>
          <pc:docMk/>
          <pc:sldMk cId="1794826995" sldId="280"/>
        </pc:sldMkLst>
        <pc:graphicFrameChg chg="mod">
          <ac:chgData name="Shelley Earl" userId="4951d46f-b647-4b3c-b822-5808962dcca8" providerId="ADAL" clId="{5F9A5095-15C7-4BF8-A3D7-9D6D94260068}" dt="2024-03-25T14:51:44.613" v="544"/>
          <ac:graphicFrameMkLst>
            <pc:docMk/>
            <pc:sldMk cId="1794826995" sldId="280"/>
            <ac:graphicFrameMk id="4" creationId="{F066EC6C-DCB6-3357-ABD4-0298BB5F32F6}"/>
          </ac:graphicFrameMkLst>
        </pc:graphicFrameChg>
      </pc:sldChg>
      <pc:sldChg chg="modSp mod">
        <pc:chgData name="Shelley Earl" userId="4951d46f-b647-4b3c-b822-5808962dcca8" providerId="ADAL" clId="{5F9A5095-15C7-4BF8-A3D7-9D6D94260068}" dt="2024-03-25T14:52:39.794" v="548" actId="6549"/>
        <pc:sldMkLst>
          <pc:docMk/>
          <pc:sldMk cId="981669481" sldId="282"/>
        </pc:sldMkLst>
        <pc:spChg chg="mod">
          <ac:chgData name="Shelley Earl" userId="4951d46f-b647-4b3c-b822-5808962dcca8" providerId="ADAL" clId="{5F9A5095-15C7-4BF8-A3D7-9D6D94260068}" dt="2024-03-25T14:52:39.794" v="548" actId="6549"/>
          <ac:spMkLst>
            <pc:docMk/>
            <pc:sldMk cId="981669481" sldId="282"/>
            <ac:spMk id="3" creationId="{1C66F432-C4F6-FCEE-F1EB-C13A0EC3264F}"/>
          </ac:spMkLst>
        </pc:spChg>
      </pc:sldChg>
      <pc:sldChg chg="modSp mod">
        <pc:chgData name="Shelley Earl" userId="4951d46f-b647-4b3c-b822-5808962dcca8" providerId="ADAL" clId="{5F9A5095-15C7-4BF8-A3D7-9D6D94260068}" dt="2024-03-25T14:54:22.122" v="607" actId="20577"/>
        <pc:sldMkLst>
          <pc:docMk/>
          <pc:sldMk cId="1411236543" sldId="283"/>
        </pc:sldMkLst>
        <pc:spChg chg="mod">
          <ac:chgData name="Shelley Earl" userId="4951d46f-b647-4b3c-b822-5808962dcca8" providerId="ADAL" clId="{5F9A5095-15C7-4BF8-A3D7-9D6D94260068}" dt="2024-03-25T14:54:22.122" v="607" actId="20577"/>
          <ac:spMkLst>
            <pc:docMk/>
            <pc:sldMk cId="1411236543" sldId="283"/>
            <ac:spMk id="9" creationId="{87FEABC1-0E2B-CA86-F809-3DA3A9B36182}"/>
          </ac:spMkLst>
        </pc:spChg>
      </pc:sldChg>
      <pc:sldChg chg="delSp modSp mod ord delAnim">
        <pc:chgData name="Shelley Earl" userId="4951d46f-b647-4b3c-b822-5808962dcca8" providerId="ADAL" clId="{5F9A5095-15C7-4BF8-A3D7-9D6D94260068}" dt="2024-03-25T15:03:37.909" v="696"/>
        <pc:sldMkLst>
          <pc:docMk/>
          <pc:sldMk cId="30537229" sldId="284"/>
        </pc:sldMkLst>
        <pc:spChg chg="mod">
          <ac:chgData name="Shelley Earl" userId="4951d46f-b647-4b3c-b822-5808962dcca8" providerId="ADAL" clId="{5F9A5095-15C7-4BF8-A3D7-9D6D94260068}" dt="2024-03-25T14:56:02.207" v="623" actId="20577"/>
          <ac:spMkLst>
            <pc:docMk/>
            <pc:sldMk cId="30537229" sldId="284"/>
            <ac:spMk id="2" creationId="{4BE1F89A-BFF8-A65E-BF48-AEE160C282E6}"/>
          </ac:spMkLst>
        </pc:spChg>
        <pc:spChg chg="mod">
          <ac:chgData name="Shelley Earl" userId="4951d46f-b647-4b3c-b822-5808962dcca8" providerId="ADAL" clId="{5F9A5095-15C7-4BF8-A3D7-9D6D94260068}" dt="2024-03-25T15:03:17.553" v="693" actId="6549"/>
          <ac:spMkLst>
            <pc:docMk/>
            <pc:sldMk cId="30537229" sldId="284"/>
            <ac:spMk id="3" creationId="{EE3BD1DC-4EC2-EFA1-8D3E-8824C4794976}"/>
          </ac:spMkLst>
        </pc:spChg>
        <pc:spChg chg="del">
          <ac:chgData name="Shelley Earl" userId="4951d46f-b647-4b3c-b822-5808962dcca8" providerId="ADAL" clId="{5F9A5095-15C7-4BF8-A3D7-9D6D94260068}" dt="2024-03-25T14:57:04.135" v="634" actId="478"/>
          <ac:spMkLst>
            <pc:docMk/>
            <pc:sldMk cId="30537229" sldId="284"/>
            <ac:spMk id="14" creationId="{321EC7B0-8C11-0E94-9273-7579EDAB8D65}"/>
          </ac:spMkLst>
        </pc:spChg>
        <pc:graphicFrameChg chg="mod">
          <ac:chgData name="Shelley Earl" userId="4951d46f-b647-4b3c-b822-5808962dcca8" providerId="ADAL" clId="{5F9A5095-15C7-4BF8-A3D7-9D6D94260068}" dt="2024-03-25T15:03:23.413" v="694" actId="1076"/>
          <ac:graphicFrameMkLst>
            <pc:docMk/>
            <pc:sldMk cId="30537229" sldId="284"/>
            <ac:graphicFrameMk id="4" creationId="{B3FD9947-2372-778F-84F0-D2FAEFF1D8DE}"/>
          </ac:graphicFrameMkLst>
        </pc:graphicFrameChg>
      </pc:sldChg>
      <pc:sldChg chg="modSp mod modAnim">
        <pc:chgData name="Shelley Earl" userId="4951d46f-b647-4b3c-b822-5808962dcca8" providerId="ADAL" clId="{5F9A5095-15C7-4BF8-A3D7-9D6D94260068}" dt="2024-03-25T15:01:31.443" v="680"/>
        <pc:sldMkLst>
          <pc:docMk/>
          <pc:sldMk cId="4282014508" sldId="285"/>
        </pc:sldMkLst>
        <pc:spChg chg="mod">
          <ac:chgData name="Shelley Earl" userId="4951d46f-b647-4b3c-b822-5808962dcca8" providerId="ADAL" clId="{5F9A5095-15C7-4BF8-A3D7-9D6D94260068}" dt="2024-03-25T14:59:09.152" v="644" actId="20577"/>
          <ac:spMkLst>
            <pc:docMk/>
            <pc:sldMk cId="4282014508" sldId="285"/>
            <ac:spMk id="8" creationId="{94E63CD8-53B4-AF1A-FBA4-05945FE997A1}"/>
          </ac:spMkLst>
        </pc:spChg>
        <pc:spChg chg="mod">
          <ac:chgData name="Shelley Earl" userId="4951d46f-b647-4b3c-b822-5808962dcca8" providerId="ADAL" clId="{5F9A5095-15C7-4BF8-A3D7-9D6D94260068}" dt="2024-03-25T15:01:14.846" v="679" actId="6549"/>
          <ac:spMkLst>
            <pc:docMk/>
            <pc:sldMk cId="4282014508" sldId="285"/>
            <ac:spMk id="9" creationId="{F525208C-D97C-1080-772A-E506B67C4128}"/>
          </ac:spMkLst>
        </pc:spChg>
      </pc:sldChg>
      <pc:sldChg chg="delSp modSp mod">
        <pc:chgData name="Shelley Earl" userId="4951d46f-b647-4b3c-b822-5808962dcca8" providerId="ADAL" clId="{5F9A5095-15C7-4BF8-A3D7-9D6D94260068}" dt="2024-03-25T15:02:40.717" v="692" actId="20577"/>
        <pc:sldMkLst>
          <pc:docMk/>
          <pc:sldMk cId="191158308" sldId="286"/>
        </pc:sldMkLst>
        <pc:spChg chg="mod">
          <ac:chgData name="Shelley Earl" userId="4951d46f-b647-4b3c-b822-5808962dcca8" providerId="ADAL" clId="{5F9A5095-15C7-4BF8-A3D7-9D6D94260068}" dt="2024-03-25T15:01:50.720" v="681" actId="20577"/>
          <ac:spMkLst>
            <pc:docMk/>
            <pc:sldMk cId="191158308" sldId="286"/>
            <ac:spMk id="2" creationId="{CEED5DCA-792C-6FB9-BAC9-D3F76F7F9593}"/>
          </ac:spMkLst>
        </pc:spChg>
        <pc:spChg chg="del">
          <ac:chgData name="Shelley Earl" userId="4951d46f-b647-4b3c-b822-5808962dcca8" providerId="ADAL" clId="{5F9A5095-15C7-4BF8-A3D7-9D6D94260068}" dt="2024-03-25T15:02:19.422" v="691" actId="478"/>
          <ac:spMkLst>
            <pc:docMk/>
            <pc:sldMk cId="191158308" sldId="286"/>
            <ac:spMk id="17" creationId="{BC8B5FDD-0F69-C5BD-08B5-438B99EB2666}"/>
          </ac:spMkLst>
        </pc:spChg>
        <pc:graphicFrameChg chg="mod">
          <ac:chgData name="Shelley Earl" userId="4951d46f-b647-4b3c-b822-5808962dcca8" providerId="ADAL" clId="{5F9A5095-15C7-4BF8-A3D7-9D6D94260068}" dt="2024-03-25T15:02:40.717" v="692" actId="20577"/>
          <ac:graphicFrameMkLst>
            <pc:docMk/>
            <pc:sldMk cId="191158308" sldId="286"/>
            <ac:graphicFrameMk id="18" creationId="{F2583A9D-281C-4C52-9347-26153EBC053D}"/>
          </ac:graphicFrameMkLst>
        </pc:graphicFrameChg>
      </pc:sldChg>
      <pc:sldChg chg="modSp mod">
        <pc:chgData name="Shelley Earl" userId="4951d46f-b647-4b3c-b822-5808962dcca8" providerId="ADAL" clId="{5F9A5095-15C7-4BF8-A3D7-9D6D94260068}" dt="2024-03-25T15:04:55.916" v="736" actId="20577"/>
        <pc:sldMkLst>
          <pc:docMk/>
          <pc:sldMk cId="561251587" sldId="287"/>
        </pc:sldMkLst>
        <pc:spChg chg="mod">
          <ac:chgData name="Shelley Earl" userId="4951d46f-b647-4b3c-b822-5808962dcca8" providerId="ADAL" clId="{5F9A5095-15C7-4BF8-A3D7-9D6D94260068}" dt="2024-03-25T15:04:55.916" v="736" actId="20577"/>
          <ac:spMkLst>
            <pc:docMk/>
            <pc:sldMk cId="561251587" sldId="287"/>
            <ac:spMk id="14" creationId="{A1FFE694-DF65-A7CA-A6CD-EE2D7965DCCB}"/>
          </ac:spMkLst>
        </pc:spChg>
      </pc:sldChg>
      <pc:sldChg chg="del">
        <pc:chgData name="Shelley Earl" userId="4951d46f-b647-4b3c-b822-5808962dcca8" providerId="ADAL" clId="{5F9A5095-15C7-4BF8-A3D7-9D6D94260068}" dt="2024-03-25T15:05:59.632" v="737" actId="47"/>
        <pc:sldMkLst>
          <pc:docMk/>
          <pc:sldMk cId="2347924938" sldId="289"/>
        </pc:sldMkLst>
      </pc:sldChg>
      <pc:sldChg chg="addSp delSp modSp mod">
        <pc:chgData name="Shelley Earl" userId="4951d46f-b647-4b3c-b822-5808962dcca8" providerId="ADAL" clId="{5F9A5095-15C7-4BF8-A3D7-9D6D94260068}" dt="2024-03-25T15:14:55.107" v="1077" actId="1076"/>
        <pc:sldMkLst>
          <pc:docMk/>
          <pc:sldMk cId="3114590533" sldId="290"/>
        </pc:sldMkLst>
        <pc:spChg chg="mod">
          <ac:chgData name="Shelley Earl" userId="4951d46f-b647-4b3c-b822-5808962dcca8" providerId="ADAL" clId="{5F9A5095-15C7-4BF8-A3D7-9D6D94260068}" dt="2024-03-25T15:13:03.647" v="915" actId="20577"/>
          <ac:spMkLst>
            <pc:docMk/>
            <pc:sldMk cId="3114590533" sldId="290"/>
            <ac:spMk id="2" creationId="{9D6A7B45-5B3C-3DB0-1BE4-A2E8E5DFB955}"/>
          </ac:spMkLst>
        </pc:spChg>
        <pc:spChg chg="add mod">
          <ac:chgData name="Shelley Earl" userId="4951d46f-b647-4b3c-b822-5808962dcca8" providerId="ADAL" clId="{5F9A5095-15C7-4BF8-A3D7-9D6D94260068}" dt="2024-03-25T15:14:48.487" v="1075" actId="1076"/>
          <ac:spMkLst>
            <pc:docMk/>
            <pc:sldMk cId="3114590533" sldId="290"/>
            <ac:spMk id="3" creationId="{698B0EE6-D2E3-A34A-D0E6-B7CFF8ADAFCF}"/>
          </ac:spMkLst>
        </pc:spChg>
        <pc:spChg chg="del">
          <ac:chgData name="Shelley Earl" userId="4951d46f-b647-4b3c-b822-5808962dcca8" providerId="ADAL" clId="{5F9A5095-15C7-4BF8-A3D7-9D6D94260068}" dt="2024-03-25T15:14:52.349" v="1076" actId="478"/>
          <ac:spMkLst>
            <pc:docMk/>
            <pc:sldMk cId="3114590533" sldId="290"/>
            <ac:spMk id="11" creationId="{F1E7C49D-168F-967C-A68B-1627AE233196}"/>
          </ac:spMkLst>
        </pc:spChg>
        <pc:graphicFrameChg chg="mod">
          <ac:chgData name="Shelley Earl" userId="4951d46f-b647-4b3c-b822-5808962dcca8" providerId="ADAL" clId="{5F9A5095-15C7-4BF8-A3D7-9D6D94260068}" dt="2024-03-25T15:14:55.107" v="1077" actId="1076"/>
          <ac:graphicFrameMkLst>
            <pc:docMk/>
            <pc:sldMk cId="3114590533" sldId="290"/>
            <ac:graphicFrameMk id="8" creationId="{A78DC15E-F928-C464-FBA0-36933CA4DB49}"/>
          </ac:graphicFrameMkLst>
        </pc:graphicFrameChg>
      </pc:sldChg>
      <pc:sldChg chg="modSp mod">
        <pc:chgData name="Shelley Earl" userId="4951d46f-b647-4b3c-b822-5808962dcca8" providerId="ADAL" clId="{5F9A5095-15C7-4BF8-A3D7-9D6D94260068}" dt="2024-03-25T15:15:31.877" v="1111" actId="20577"/>
        <pc:sldMkLst>
          <pc:docMk/>
          <pc:sldMk cId="894928972" sldId="291"/>
        </pc:sldMkLst>
        <pc:spChg chg="mod">
          <ac:chgData name="Shelley Earl" userId="4951d46f-b647-4b3c-b822-5808962dcca8" providerId="ADAL" clId="{5F9A5095-15C7-4BF8-A3D7-9D6D94260068}" dt="2024-03-25T15:15:31.877" v="1111" actId="20577"/>
          <ac:spMkLst>
            <pc:docMk/>
            <pc:sldMk cId="894928972" sldId="291"/>
            <ac:spMk id="3" creationId="{D6504A50-C316-495F-A22D-CFF6B8954D8D}"/>
          </ac:spMkLst>
        </pc:spChg>
      </pc:sldChg>
      <pc:sldChg chg="modSp mod">
        <pc:chgData name="Shelley Earl" userId="4951d46f-b647-4b3c-b822-5808962dcca8" providerId="ADAL" clId="{5F9A5095-15C7-4BF8-A3D7-9D6D94260068}" dt="2024-03-25T15:16:15.672" v="1140" actId="6549"/>
        <pc:sldMkLst>
          <pc:docMk/>
          <pc:sldMk cId="3790215164" sldId="293"/>
        </pc:sldMkLst>
        <pc:spChg chg="mod">
          <ac:chgData name="Shelley Earl" userId="4951d46f-b647-4b3c-b822-5808962dcca8" providerId="ADAL" clId="{5F9A5095-15C7-4BF8-A3D7-9D6D94260068}" dt="2024-03-25T15:16:15.672" v="1140" actId="6549"/>
          <ac:spMkLst>
            <pc:docMk/>
            <pc:sldMk cId="3790215164" sldId="293"/>
            <ac:spMk id="3" creationId="{2A8CED9B-3AA4-6657-52D7-A3AE595B4F07}"/>
          </ac:spMkLst>
        </pc:spChg>
      </pc:sldChg>
      <pc:sldChg chg="del">
        <pc:chgData name="Shelley Earl" userId="4951d46f-b647-4b3c-b822-5808962dcca8" providerId="ADAL" clId="{5F9A5095-15C7-4BF8-A3D7-9D6D94260068}" dt="2024-03-25T15:16:22.607" v="1141" actId="47"/>
        <pc:sldMkLst>
          <pc:docMk/>
          <pc:sldMk cId="1834208117" sldId="3126"/>
        </pc:sldMkLst>
      </pc:sldChg>
      <pc:sldChg chg="addSp delSp modSp new mod">
        <pc:chgData name="Shelley Earl" userId="4951d46f-b647-4b3c-b822-5808962dcca8" providerId="ADAL" clId="{5F9A5095-15C7-4BF8-A3D7-9D6D94260068}" dt="2024-03-25T15:12:28.427" v="901" actId="255"/>
        <pc:sldMkLst>
          <pc:docMk/>
          <pc:sldMk cId="3534279248" sldId="3127"/>
        </pc:sldMkLst>
        <pc:spChg chg="mod">
          <ac:chgData name="Shelley Earl" userId="4951d46f-b647-4b3c-b822-5808962dcca8" providerId="ADAL" clId="{5F9A5095-15C7-4BF8-A3D7-9D6D94260068}" dt="2024-03-25T15:08:42.113" v="772" actId="26606"/>
          <ac:spMkLst>
            <pc:docMk/>
            <pc:sldMk cId="3534279248" sldId="3127"/>
            <ac:spMk id="2" creationId="{73CB6B62-796B-C1D4-4763-5A20739A7519}"/>
          </ac:spMkLst>
        </pc:spChg>
        <pc:spChg chg="del">
          <ac:chgData name="Shelley Earl" userId="4951d46f-b647-4b3c-b822-5808962dcca8" providerId="ADAL" clId="{5F9A5095-15C7-4BF8-A3D7-9D6D94260068}" dt="2024-03-25T15:08:42.113" v="772" actId="26606"/>
          <ac:spMkLst>
            <pc:docMk/>
            <pc:sldMk cId="3534279248" sldId="3127"/>
            <ac:spMk id="3" creationId="{BAE13260-81AC-2050-58FE-5B34388EE05B}"/>
          </ac:spMkLst>
        </pc:spChg>
        <pc:spChg chg="del">
          <ac:chgData name="Shelley Earl" userId="4951d46f-b647-4b3c-b822-5808962dcca8" providerId="ADAL" clId="{5F9A5095-15C7-4BF8-A3D7-9D6D94260068}" dt="2024-03-25T15:08:26.438" v="771" actId="22"/>
          <ac:spMkLst>
            <pc:docMk/>
            <pc:sldMk cId="3534279248" sldId="3127"/>
            <ac:spMk id="4" creationId="{4BC82226-280B-AEB8-5190-C1A2D1758C9C}"/>
          </ac:spMkLst>
        </pc:spChg>
        <pc:spChg chg="add mod">
          <ac:chgData name="Shelley Earl" userId="4951d46f-b647-4b3c-b822-5808962dcca8" providerId="ADAL" clId="{5F9A5095-15C7-4BF8-A3D7-9D6D94260068}" dt="2024-03-25T15:12:28.427" v="901" actId="255"/>
          <ac:spMkLst>
            <pc:docMk/>
            <pc:sldMk cId="3534279248" sldId="3127"/>
            <ac:spMk id="11" creationId="{6C1BA9E3-9396-DBB5-8249-DC0FDEC133B2}"/>
          </ac:spMkLst>
        </pc:spChg>
        <pc:picChg chg="add mod ord">
          <ac:chgData name="Shelley Earl" userId="4951d46f-b647-4b3c-b822-5808962dcca8" providerId="ADAL" clId="{5F9A5095-15C7-4BF8-A3D7-9D6D94260068}" dt="2024-03-25T15:08:43.556" v="773" actId="27614"/>
          <ac:picMkLst>
            <pc:docMk/>
            <pc:sldMk cId="3534279248" sldId="3127"/>
            <ac:picMk id="6" creationId="{486A5F75-0C93-46BB-29E1-EEFA342C3D92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svg"/><Relationship Id="rId1" Type="http://schemas.openxmlformats.org/officeDocument/2006/relationships/image" Target="../media/image7.png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diagrams/_rels/data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13.png"/><Relationship Id="rId7" Type="http://schemas.openxmlformats.org/officeDocument/2006/relationships/image" Target="../media/image33.png"/><Relationship Id="rId2" Type="http://schemas.openxmlformats.org/officeDocument/2006/relationships/image" Target="../media/image30.svg"/><Relationship Id="rId1" Type="http://schemas.openxmlformats.org/officeDocument/2006/relationships/image" Target="../media/image29.png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4.svg"/></Relationships>
</file>

<file path=ppt/diagrams/_rels/data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13" Type="http://schemas.openxmlformats.org/officeDocument/2006/relationships/image" Target="../media/image48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svg"/><Relationship Id="rId2" Type="http://schemas.openxmlformats.org/officeDocument/2006/relationships/image" Target="../media/image37.svg"/><Relationship Id="rId1" Type="http://schemas.openxmlformats.org/officeDocument/2006/relationships/image" Target="../media/image36.png"/><Relationship Id="rId6" Type="http://schemas.openxmlformats.org/officeDocument/2006/relationships/image" Target="../media/image41.sv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svg"/><Relationship Id="rId4" Type="http://schemas.openxmlformats.org/officeDocument/2006/relationships/image" Target="../media/image39.svg"/><Relationship Id="rId9" Type="http://schemas.openxmlformats.org/officeDocument/2006/relationships/image" Target="../media/image44.png"/><Relationship Id="rId14" Type="http://schemas.openxmlformats.org/officeDocument/2006/relationships/image" Target="../media/image49.svg"/></Relationships>
</file>

<file path=ppt/diagrams/_rels/data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svg"/><Relationship Id="rId9" Type="http://schemas.openxmlformats.org/officeDocument/2006/relationships/image" Target="../media/image23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svg"/><Relationship Id="rId1" Type="http://schemas.openxmlformats.org/officeDocument/2006/relationships/image" Target="../media/image7.png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diagrams/_rels/drawing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13.png"/><Relationship Id="rId7" Type="http://schemas.openxmlformats.org/officeDocument/2006/relationships/image" Target="../media/image33.png"/><Relationship Id="rId2" Type="http://schemas.openxmlformats.org/officeDocument/2006/relationships/image" Target="../media/image30.svg"/><Relationship Id="rId1" Type="http://schemas.openxmlformats.org/officeDocument/2006/relationships/image" Target="../media/image29.png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4.svg"/></Relationships>
</file>

<file path=ppt/diagrams/_rels/drawing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13" Type="http://schemas.openxmlformats.org/officeDocument/2006/relationships/image" Target="../media/image48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svg"/><Relationship Id="rId2" Type="http://schemas.openxmlformats.org/officeDocument/2006/relationships/image" Target="../media/image37.svg"/><Relationship Id="rId1" Type="http://schemas.openxmlformats.org/officeDocument/2006/relationships/image" Target="../media/image36.png"/><Relationship Id="rId6" Type="http://schemas.openxmlformats.org/officeDocument/2006/relationships/image" Target="../media/image41.sv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svg"/><Relationship Id="rId4" Type="http://schemas.openxmlformats.org/officeDocument/2006/relationships/image" Target="../media/image39.svg"/><Relationship Id="rId9" Type="http://schemas.openxmlformats.org/officeDocument/2006/relationships/image" Target="../media/image44.png"/><Relationship Id="rId14" Type="http://schemas.openxmlformats.org/officeDocument/2006/relationships/image" Target="../media/image49.svg"/></Relationships>
</file>

<file path=ppt/diagrams/_rels/drawing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svg"/><Relationship Id="rId9" Type="http://schemas.openxmlformats.org/officeDocument/2006/relationships/image" Target="../media/image2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B1D878-DD47-4554-B918-FF8182C854DF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4872F20E-C901-4018-94B9-DA055639A969}" type="parTrans" cxnId="{FAC9CD89-447E-4AB6-A89A-F567057814F4}">
      <dgm:prSet/>
      <dgm:spPr/>
      <dgm:t>
        <a:bodyPr/>
        <a:lstStyle/>
        <a:p>
          <a:endParaRPr lang="en-US"/>
        </a:p>
      </dgm:t>
    </dgm:pt>
    <dgm:pt modelId="{BD203190-B02D-4833-9639-64C6874E5D6E}">
      <dgm:prSet custT="1"/>
      <dgm:spPr>
        <a:noFill/>
        <a:ln>
          <a:noFill/>
        </a:ln>
      </dgm:spPr>
      <dgm:t>
        <a:bodyPr/>
        <a:lstStyle/>
        <a:p>
          <a:r>
            <a:rPr lang="it" sz="19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utti vogliono far parte di un team rispettoso e di successo</a:t>
          </a:r>
          <a:endParaRPr lang="en-US"/>
        </a:p>
      </dgm:t>
    </dgm:pt>
    <dgm:pt modelId="{22737114-0C48-408A-9ADC-FBB5D68DA89B}" type="sibTrans" cxnId="{FAC9CD89-447E-4AB6-A89A-F567057814F4}">
      <dgm:prSet/>
      <dgm:spPr/>
      <dgm:t>
        <a:bodyPr/>
        <a:lstStyle/>
        <a:p>
          <a:endParaRPr lang="en-US"/>
        </a:p>
      </dgm:t>
    </dgm:pt>
    <dgm:pt modelId="{3B489F43-81AC-47EA-B6F9-1A9F3623A6FD}" type="parTrans" cxnId="{9B644C9D-5FF9-40E1-8ABE-A116C3585278}">
      <dgm:prSet/>
      <dgm:spPr/>
      <dgm:t>
        <a:bodyPr/>
        <a:lstStyle/>
        <a:p>
          <a:endParaRPr lang="en-US"/>
        </a:p>
      </dgm:t>
    </dgm:pt>
    <dgm:pt modelId="{D5ADE06A-2CD8-4527-BB06-0919124DF32C}">
      <dgm:prSet custT="1"/>
      <dgm:spPr>
        <a:noFill/>
        <a:ln>
          <a:noFill/>
        </a:ln>
      </dgm:spPr>
      <dgm:t>
        <a:bodyPr/>
        <a:lstStyle/>
        <a:p>
          <a:r>
            <a:rPr lang="it" sz="19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Il V&amp;E del 168 sostiene i principi di prevenzione di discriminazioni e molestie, che richiedono l’impegno di tutti</a:t>
          </a:r>
          <a:endParaRPr lang="en-US"/>
        </a:p>
      </dgm:t>
    </dgm:pt>
    <dgm:pt modelId="{8031BCC7-8D90-4C42-9290-ACCDE5A0B9ED}" type="sibTrans" cxnId="{9B644C9D-5FF9-40E1-8ABE-A116C3585278}">
      <dgm:prSet/>
      <dgm:spPr/>
      <dgm:t>
        <a:bodyPr/>
        <a:lstStyle/>
        <a:p>
          <a:endParaRPr lang="en-US"/>
        </a:p>
      </dgm:t>
    </dgm:pt>
    <dgm:pt modelId="{2F0AF00D-06E6-440B-A672-A767CD8F0B53}" type="parTrans" cxnId="{9377ACC0-F542-49FE-8852-07C63346DF89}">
      <dgm:prSet/>
      <dgm:spPr/>
      <dgm:t>
        <a:bodyPr/>
        <a:lstStyle/>
        <a:p>
          <a:endParaRPr lang="en-US"/>
        </a:p>
      </dgm:t>
    </dgm:pt>
    <dgm:pt modelId="{255A7C46-93F8-42B9-B3FF-C4120B6D6A85}">
      <dgm:prSet custT="1"/>
      <dgm:spPr>
        <a:noFill/>
        <a:ln>
          <a:noFill/>
        </a:ln>
      </dgm:spPr>
      <dgm:t>
        <a:bodyPr/>
        <a:lstStyle/>
        <a:p>
          <a:r>
            <a:rPr lang="it" sz="19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RPM non tollera in alcuna forma mancanza di rispetto, molestie o discriminazione</a:t>
          </a:r>
          <a:endParaRPr lang="en-US"/>
        </a:p>
      </dgm:t>
    </dgm:pt>
    <dgm:pt modelId="{14D5279D-3554-44D4-A185-DA900563E26D}" type="sibTrans" cxnId="{9377ACC0-F542-49FE-8852-07C63346DF89}">
      <dgm:prSet/>
      <dgm:spPr/>
      <dgm:t>
        <a:bodyPr/>
        <a:lstStyle/>
        <a:p>
          <a:endParaRPr lang="en-US"/>
        </a:p>
      </dgm:t>
    </dgm:pt>
    <dgm:pt modelId="{72D0D968-80E7-4D31-AFB8-C5742C4FABDC}" type="parTrans" cxnId="{1E0A0D5A-25BF-44CE-A744-1503A3A40DC4}">
      <dgm:prSet/>
      <dgm:spPr/>
      <dgm:t>
        <a:bodyPr/>
        <a:lstStyle/>
        <a:p>
          <a:endParaRPr lang="en-US"/>
        </a:p>
      </dgm:t>
    </dgm:pt>
    <dgm:pt modelId="{D5DED7B9-AE0E-4022-87AC-013CCD84826A}">
      <dgm:prSet custT="1"/>
      <dgm:spPr>
        <a:noFill/>
        <a:ln>
          <a:noFill/>
        </a:ln>
      </dgm:spPr>
      <dgm:t>
        <a:bodyPr/>
        <a:lstStyle/>
        <a:p>
          <a:r>
            <a:rPr lang="it" sz="19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utti noi dobbiamo assicurarci che la nostra condotta rifletta i valori di RPM e dobbiamo agire se vediamo una condotta impropria</a:t>
          </a:r>
          <a:endParaRPr lang="en-US"/>
        </a:p>
      </dgm:t>
    </dgm:pt>
    <dgm:pt modelId="{CEBD3099-CB00-4B1F-9F22-D2CEB3D1037A}" type="sibTrans" cxnId="{1E0A0D5A-25BF-44CE-A744-1503A3A40DC4}">
      <dgm:prSet/>
      <dgm:spPr/>
      <dgm:t>
        <a:bodyPr/>
        <a:lstStyle/>
        <a:p>
          <a:endParaRPr lang="en-US"/>
        </a:p>
      </dgm:t>
    </dgm:pt>
    <dgm:pt modelId="{79A6C311-014C-4876-94E9-AC2AA0789466}" type="pres">
      <dgm:prSet presAssocID="{D3B1D878-DD47-4554-B918-FF8182C854DF}" presName="root" presStyleCnt="0">
        <dgm:presLayoutVars>
          <dgm:dir/>
          <dgm:resizeHandles val="exact"/>
        </dgm:presLayoutVars>
      </dgm:prSet>
      <dgm:spPr/>
    </dgm:pt>
    <dgm:pt modelId="{D1AC1FB3-8252-43F4-B1DF-E0B7B991C4ED}" type="pres">
      <dgm:prSet presAssocID="{BD203190-B02D-4833-9639-64C6874E5D6E}" presName="compNode" presStyleCnt="0"/>
      <dgm:spPr/>
    </dgm:pt>
    <dgm:pt modelId="{E5BCA4F3-8F30-418C-9B3B-9FAE6FBB2AFD}" type="pres">
      <dgm:prSet presAssocID="{BD203190-B02D-4833-9639-64C6874E5D6E}" presName="bgRect" presStyleLbl="bgShp" presStyleIdx="0" presStyleCnt="4"/>
      <dgm:spPr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0E1DE14D-271D-4E48-A734-F66D4AA6B04D}" type="pres">
      <dgm:prSet presAssocID="{BD203190-B02D-4833-9639-64C6874E5D6E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roup"/>
        </a:ext>
      </dgm:extLst>
    </dgm:pt>
    <dgm:pt modelId="{AF898DFF-833E-4969-A05C-28F864E3637F}" type="pres">
      <dgm:prSet presAssocID="{BD203190-B02D-4833-9639-64C6874E5D6E}" presName="spaceRect" presStyleCnt="0"/>
      <dgm:spPr/>
    </dgm:pt>
    <dgm:pt modelId="{10EBE8A2-D7D4-4676-91C2-0669EA92AE50}" type="pres">
      <dgm:prSet presAssocID="{BD203190-B02D-4833-9639-64C6874E5D6E}" presName="parTx" presStyleLbl="revTx" presStyleIdx="0" presStyleCnt="4">
        <dgm:presLayoutVars>
          <dgm:chMax val="0"/>
          <dgm:chPref val="0"/>
        </dgm:presLayoutVars>
      </dgm:prSet>
      <dgm:spPr/>
    </dgm:pt>
    <dgm:pt modelId="{AAB631DF-D1E9-4EBA-BFAB-61939DC8BDB1}" type="pres">
      <dgm:prSet presAssocID="{22737114-0C48-408A-9ADC-FBB5D68DA89B}" presName="sibTrans" presStyleCnt="0"/>
      <dgm:spPr/>
    </dgm:pt>
    <dgm:pt modelId="{9EA0C476-91E6-4714-919B-C91EBFC2EB4F}" type="pres">
      <dgm:prSet presAssocID="{D5ADE06A-2CD8-4527-BB06-0919124DF32C}" presName="compNode" presStyleCnt="0"/>
      <dgm:spPr/>
    </dgm:pt>
    <dgm:pt modelId="{62399D1D-6A37-4655-9B96-57525ECC5F52}" type="pres">
      <dgm:prSet presAssocID="{D5ADE06A-2CD8-4527-BB06-0919124DF32C}" presName="bgRect" presStyleLbl="bgShp" presStyleIdx="1" presStyleCnt="4"/>
      <dgm:spPr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581AAD55-36A6-40B9-B55F-EEF840079F1A}" type="pres">
      <dgm:prSet presAssocID="{D5ADE06A-2CD8-4527-BB06-0919124DF32C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221124F0-5250-4952-B025-754B2DEE029D}" type="pres">
      <dgm:prSet presAssocID="{D5ADE06A-2CD8-4527-BB06-0919124DF32C}" presName="spaceRect" presStyleCnt="0"/>
      <dgm:spPr/>
    </dgm:pt>
    <dgm:pt modelId="{F09238B2-9DB9-4BD7-8219-1D04AF10EADE}" type="pres">
      <dgm:prSet presAssocID="{D5ADE06A-2CD8-4527-BB06-0919124DF32C}" presName="parTx" presStyleLbl="revTx" presStyleIdx="1" presStyleCnt="4">
        <dgm:presLayoutVars>
          <dgm:chMax val="0"/>
          <dgm:chPref val="0"/>
        </dgm:presLayoutVars>
      </dgm:prSet>
      <dgm:spPr/>
    </dgm:pt>
    <dgm:pt modelId="{DC802BC5-1A91-4AF9-9ED1-02F8C352C88F}" type="pres">
      <dgm:prSet presAssocID="{8031BCC7-8D90-4C42-9290-ACCDE5A0B9ED}" presName="sibTrans" presStyleCnt="0"/>
      <dgm:spPr/>
    </dgm:pt>
    <dgm:pt modelId="{4F6FD4E0-2E33-4FE5-AB43-13249D436D2E}" type="pres">
      <dgm:prSet presAssocID="{255A7C46-93F8-42B9-B3FF-C4120B6D6A85}" presName="compNode" presStyleCnt="0"/>
      <dgm:spPr/>
    </dgm:pt>
    <dgm:pt modelId="{2194DC87-0EB3-47A9-A710-50B67ABE9595}" type="pres">
      <dgm:prSet presAssocID="{255A7C46-93F8-42B9-B3FF-C4120B6D6A85}" presName="bgRect" presStyleLbl="bgShp" presStyleIdx="2" presStyleCnt="4"/>
      <dgm:spPr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E7043F58-D2C7-4873-8DE7-E85D1568F29E}" type="pres">
      <dgm:prSet presAssocID="{255A7C46-93F8-42B9-B3FF-C4120B6D6A85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arth Globe Americas"/>
        </a:ext>
      </dgm:extLst>
    </dgm:pt>
    <dgm:pt modelId="{E91F269F-E74E-44A5-B980-0F943959FF9F}" type="pres">
      <dgm:prSet presAssocID="{255A7C46-93F8-42B9-B3FF-C4120B6D6A85}" presName="spaceRect" presStyleCnt="0"/>
      <dgm:spPr/>
    </dgm:pt>
    <dgm:pt modelId="{E61693E8-D0B4-4833-BD20-F0400943806F}" type="pres">
      <dgm:prSet presAssocID="{255A7C46-93F8-42B9-B3FF-C4120B6D6A85}" presName="parTx" presStyleLbl="revTx" presStyleIdx="2" presStyleCnt="4">
        <dgm:presLayoutVars>
          <dgm:chMax val="0"/>
          <dgm:chPref val="0"/>
        </dgm:presLayoutVars>
      </dgm:prSet>
      <dgm:spPr/>
    </dgm:pt>
    <dgm:pt modelId="{84CA8B17-F245-4AD8-9D97-5A81F130C64C}" type="pres">
      <dgm:prSet presAssocID="{14D5279D-3554-44D4-A185-DA900563E26D}" presName="sibTrans" presStyleCnt="0"/>
      <dgm:spPr/>
    </dgm:pt>
    <dgm:pt modelId="{4DEF3117-8A5A-458D-881B-10B2ACCAB362}" type="pres">
      <dgm:prSet presAssocID="{D5DED7B9-AE0E-4022-87AC-013CCD84826A}" presName="compNode" presStyleCnt="0"/>
      <dgm:spPr/>
    </dgm:pt>
    <dgm:pt modelId="{AEF938DC-0277-4425-B5AA-B6E145ABDF3E}" type="pres">
      <dgm:prSet presAssocID="{D5DED7B9-AE0E-4022-87AC-013CCD84826A}" presName="bgRect" presStyleLbl="bgShp" presStyleIdx="3" presStyleCnt="4"/>
      <dgm:spPr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BE8DF815-E4EC-4C8B-89A3-02381B28C402}" type="pres">
      <dgm:prSet presAssocID="{D5DED7B9-AE0E-4022-87AC-013CCD84826A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Irritant"/>
        </a:ext>
      </dgm:extLst>
    </dgm:pt>
    <dgm:pt modelId="{EFBC4F42-3390-49A4-B52F-7A9440C85FC1}" type="pres">
      <dgm:prSet presAssocID="{D5DED7B9-AE0E-4022-87AC-013CCD84826A}" presName="spaceRect" presStyleCnt="0"/>
      <dgm:spPr/>
    </dgm:pt>
    <dgm:pt modelId="{24931F5D-5E16-4A87-A9D2-51F34F2AEE47}" type="pres">
      <dgm:prSet presAssocID="{D5DED7B9-AE0E-4022-87AC-013CCD84826A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7BB01B6A-42AF-4AAD-983D-C0ABF29C9216}" type="presOf" srcId="{D5ADE06A-2CD8-4527-BB06-0919124DF32C}" destId="{F09238B2-9DB9-4BD7-8219-1D04AF10EADE}" srcOrd="0" destOrd="0" presId="urn:microsoft.com/office/officeart/2018/2/layout/IconVerticalSolidList"/>
    <dgm:cxn modelId="{E0CF5876-F5BA-4113-A58F-FEF6BBD37F70}" type="presOf" srcId="{255A7C46-93F8-42B9-B3FF-C4120B6D6A85}" destId="{E61693E8-D0B4-4833-BD20-F0400943806F}" srcOrd="0" destOrd="0" presId="urn:microsoft.com/office/officeart/2018/2/layout/IconVerticalSolidList"/>
    <dgm:cxn modelId="{9453ED79-A6F1-47F7-9860-F132975C5712}" type="presOf" srcId="{D5DED7B9-AE0E-4022-87AC-013CCD84826A}" destId="{24931F5D-5E16-4A87-A9D2-51F34F2AEE47}" srcOrd="0" destOrd="0" presId="urn:microsoft.com/office/officeart/2018/2/layout/IconVerticalSolidList"/>
    <dgm:cxn modelId="{1E0A0D5A-25BF-44CE-A744-1503A3A40DC4}" srcId="{D3B1D878-DD47-4554-B918-FF8182C854DF}" destId="{D5DED7B9-AE0E-4022-87AC-013CCD84826A}" srcOrd="3" destOrd="0" parTransId="{72D0D968-80E7-4D31-AFB8-C5742C4FABDC}" sibTransId="{CEBD3099-CB00-4B1F-9F22-D2CEB3D1037A}"/>
    <dgm:cxn modelId="{7E041D85-EBE2-412B-B438-CCDDB150E5B8}" type="presOf" srcId="{D3B1D878-DD47-4554-B918-FF8182C854DF}" destId="{79A6C311-014C-4876-94E9-AC2AA0789466}" srcOrd="0" destOrd="0" presId="urn:microsoft.com/office/officeart/2018/2/layout/IconVerticalSolidList"/>
    <dgm:cxn modelId="{FAC9CD89-447E-4AB6-A89A-F567057814F4}" srcId="{D3B1D878-DD47-4554-B918-FF8182C854DF}" destId="{BD203190-B02D-4833-9639-64C6874E5D6E}" srcOrd="0" destOrd="0" parTransId="{4872F20E-C901-4018-94B9-DA055639A969}" sibTransId="{22737114-0C48-408A-9ADC-FBB5D68DA89B}"/>
    <dgm:cxn modelId="{9B644C9D-5FF9-40E1-8ABE-A116C3585278}" srcId="{D3B1D878-DD47-4554-B918-FF8182C854DF}" destId="{D5ADE06A-2CD8-4527-BB06-0919124DF32C}" srcOrd="1" destOrd="0" parTransId="{3B489F43-81AC-47EA-B6F9-1A9F3623A6FD}" sibTransId="{8031BCC7-8D90-4C42-9290-ACCDE5A0B9ED}"/>
    <dgm:cxn modelId="{807032B8-7D6B-4692-9F3C-BAEB186C7F93}" type="presOf" srcId="{BD203190-B02D-4833-9639-64C6874E5D6E}" destId="{10EBE8A2-D7D4-4676-91C2-0669EA92AE50}" srcOrd="0" destOrd="0" presId="urn:microsoft.com/office/officeart/2018/2/layout/IconVerticalSolidList"/>
    <dgm:cxn modelId="{9377ACC0-F542-49FE-8852-07C63346DF89}" srcId="{D3B1D878-DD47-4554-B918-FF8182C854DF}" destId="{255A7C46-93F8-42B9-B3FF-C4120B6D6A85}" srcOrd="2" destOrd="0" parTransId="{2F0AF00D-06E6-440B-A672-A767CD8F0B53}" sibTransId="{14D5279D-3554-44D4-A185-DA900563E26D}"/>
    <dgm:cxn modelId="{CD609A72-6849-41D1-B304-010C031C52B9}" type="presParOf" srcId="{79A6C311-014C-4876-94E9-AC2AA0789466}" destId="{D1AC1FB3-8252-43F4-B1DF-E0B7B991C4ED}" srcOrd="0" destOrd="0" presId="urn:microsoft.com/office/officeart/2018/2/layout/IconVerticalSolidList"/>
    <dgm:cxn modelId="{FE8EA93A-5D95-44DE-BA84-810D7CE96AFB}" type="presParOf" srcId="{D1AC1FB3-8252-43F4-B1DF-E0B7B991C4ED}" destId="{E5BCA4F3-8F30-418C-9B3B-9FAE6FBB2AFD}" srcOrd="0" destOrd="0" presId="urn:microsoft.com/office/officeart/2018/2/layout/IconVerticalSolidList"/>
    <dgm:cxn modelId="{B388CF47-CFC2-4A17-957B-EC7FBCAD2C8D}" type="presParOf" srcId="{D1AC1FB3-8252-43F4-B1DF-E0B7B991C4ED}" destId="{0E1DE14D-271D-4E48-A734-F66D4AA6B04D}" srcOrd="1" destOrd="0" presId="urn:microsoft.com/office/officeart/2018/2/layout/IconVerticalSolidList"/>
    <dgm:cxn modelId="{C30F0982-7D42-4C96-9EDD-2E1A84DCA819}" type="presParOf" srcId="{D1AC1FB3-8252-43F4-B1DF-E0B7B991C4ED}" destId="{AF898DFF-833E-4969-A05C-28F864E3637F}" srcOrd="2" destOrd="0" presId="urn:microsoft.com/office/officeart/2018/2/layout/IconVerticalSolidList"/>
    <dgm:cxn modelId="{C4A21294-2F29-4CB2-A90A-5A6F0275332C}" type="presParOf" srcId="{D1AC1FB3-8252-43F4-B1DF-E0B7B991C4ED}" destId="{10EBE8A2-D7D4-4676-91C2-0669EA92AE50}" srcOrd="3" destOrd="0" presId="urn:microsoft.com/office/officeart/2018/2/layout/IconVerticalSolidList"/>
    <dgm:cxn modelId="{B879547F-3EF9-4044-92F8-69A6402B20AF}" type="presParOf" srcId="{79A6C311-014C-4876-94E9-AC2AA0789466}" destId="{AAB631DF-D1E9-4EBA-BFAB-61939DC8BDB1}" srcOrd="1" destOrd="0" presId="urn:microsoft.com/office/officeart/2018/2/layout/IconVerticalSolidList"/>
    <dgm:cxn modelId="{9D5811A8-2195-47C9-9482-4CECFB316650}" type="presParOf" srcId="{79A6C311-014C-4876-94E9-AC2AA0789466}" destId="{9EA0C476-91E6-4714-919B-C91EBFC2EB4F}" srcOrd="2" destOrd="0" presId="urn:microsoft.com/office/officeart/2018/2/layout/IconVerticalSolidList"/>
    <dgm:cxn modelId="{90FC3950-1C60-491E-9F03-6B3CF365599A}" type="presParOf" srcId="{9EA0C476-91E6-4714-919B-C91EBFC2EB4F}" destId="{62399D1D-6A37-4655-9B96-57525ECC5F52}" srcOrd="0" destOrd="0" presId="urn:microsoft.com/office/officeart/2018/2/layout/IconVerticalSolidList"/>
    <dgm:cxn modelId="{4C4B0BF9-83F9-4D23-82D8-7187100C28B8}" type="presParOf" srcId="{9EA0C476-91E6-4714-919B-C91EBFC2EB4F}" destId="{581AAD55-36A6-40B9-B55F-EEF840079F1A}" srcOrd="1" destOrd="0" presId="urn:microsoft.com/office/officeart/2018/2/layout/IconVerticalSolidList"/>
    <dgm:cxn modelId="{F6BDC3D2-E09B-464D-BF37-C6F0F78D5B64}" type="presParOf" srcId="{9EA0C476-91E6-4714-919B-C91EBFC2EB4F}" destId="{221124F0-5250-4952-B025-754B2DEE029D}" srcOrd="2" destOrd="0" presId="urn:microsoft.com/office/officeart/2018/2/layout/IconVerticalSolidList"/>
    <dgm:cxn modelId="{296DCA26-F35A-4D57-A0C8-C43729B778EC}" type="presParOf" srcId="{9EA0C476-91E6-4714-919B-C91EBFC2EB4F}" destId="{F09238B2-9DB9-4BD7-8219-1D04AF10EADE}" srcOrd="3" destOrd="0" presId="urn:microsoft.com/office/officeart/2018/2/layout/IconVerticalSolidList"/>
    <dgm:cxn modelId="{CD06796C-D5EF-419A-98FB-FAD1434ED117}" type="presParOf" srcId="{79A6C311-014C-4876-94E9-AC2AA0789466}" destId="{DC802BC5-1A91-4AF9-9ED1-02F8C352C88F}" srcOrd="3" destOrd="0" presId="urn:microsoft.com/office/officeart/2018/2/layout/IconVerticalSolidList"/>
    <dgm:cxn modelId="{45C28FF7-7226-456D-94B5-77051F071ABF}" type="presParOf" srcId="{79A6C311-014C-4876-94E9-AC2AA0789466}" destId="{4F6FD4E0-2E33-4FE5-AB43-13249D436D2E}" srcOrd="4" destOrd="0" presId="urn:microsoft.com/office/officeart/2018/2/layout/IconVerticalSolidList"/>
    <dgm:cxn modelId="{155B395C-07AA-43DA-A646-B49752D32FA6}" type="presParOf" srcId="{4F6FD4E0-2E33-4FE5-AB43-13249D436D2E}" destId="{2194DC87-0EB3-47A9-A710-50B67ABE9595}" srcOrd="0" destOrd="0" presId="urn:microsoft.com/office/officeart/2018/2/layout/IconVerticalSolidList"/>
    <dgm:cxn modelId="{C8FDB25A-B54F-4E6D-A50D-0DB3165E04F9}" type="presParOf" srcId="{4F6FD4E0-2E33-4FE5-AB43-13249D436D2E}" destId="{E7043F58-D2C7-4873-8DE7-E85D1568F29E}" srcOrd="1" destOrd="0" presId="urn:microsoft.com/office/officeart/2018/2/layout/IconVerticalSolidList"/>
    <dgm:cxn modelId="{52252325-E1A7-4713-8A6E-2DDA45D5A3AB}" type="presParOf" srcId="{4F6FD4E0-2E33-4FE5-AB43-13249D436D2E}" destId="{E91F269F-E74E-44A5-B980-0F943959FF9F}" srcOrd="2" destOrd="0" presId="urn:microsoft.com/office/officeart/2018/2/layout/IconVerticalSolidList"/>
    <dgm:cxn modelId="{AEFFDC3F-3AD0-454B-9051-8678423F63BB}" type="presParOf" srcId="{4F6FD4E0-2E33-4FE5-AB43-13249D436D2E}" destId="{E61693E8-D0B4-4833-BD20-F0400943806F}" srcOrd="3" destOrd="0" presId="urn:microsoft.com/office/officeart/2018/2/layout/IconVerticalSolidList"/>
    <dgm:cxn modelId="{365F8038-892E-47C1-B218-39756D4D6FA8}" type="presParOf" srcId="{79A6C311-014C-4876-94E9-AC2AA0789466}" destId="{84CA8B17-F245-4AD8-9D97-5A81F130C64C}" srcOrd="5" destOrd="0" presId="urn:microsoft.com/office/officeart/2018/2/layout/IconVerticalSolidList"/>
    <dgm:cxn modelId="{2795B5DF-AB62-4123-8A43-7B484441E2E7}" type="presParOf" srcId="{79A6C311-014C-4876-94E9-AC2AA0789466}" destId="{4DEF3117-8A5A-458D-881B-10B2ACCAB362}" srcOrd="6" destOrd="0" presId="urn:microsoft.com/office/officeart/2018/2/layout/IconVerticalSolidList"/>
    <dgm:cxn modelId="{73690FED-5225-4743-AABE-502606B61DF5}" type="presParOf" srcId="{4DEF3117-8A5A-458D-881B-10B2ACCAB362}" destId="{AEF938DC-0277-4425-B5AA-B6E145ABDF3E}" srcOrd="0" destOrd="0" presId="urn:microsoft.com/office/officeart/2018/2/layout/IconVerticalSolidList"/>
    <dgm:cxn modelId="{7CBFA774-1455-4421-A908-7275F0E2A0F0}" type="presParOf" srcId="{4DEF3117-8A5A-458D-881B-10B2ACCAB362}" destId="{BE8DF815-E4EC-4C8B-89A3-02381B28C402}" srcOrd="1" destOrd="0" presId="urn:microsoft.com/office/officeart/2018/2/layout/IconVerticalSolidList"/>
    <dgm:cxn modelId="{FC567C72-4326-4ECC-A68E-9A5DCBC0F1E3}" type="presParOf" srcId="{4DEF3117-8A5A-458D-881B-10B2ACCAB362}" destId="{EFBC4F42-3390-49A4-B52F-7A9440C85FC1}" srcOrd="2" destOrd="0" presId="urn:microsoft.com/office/officeart/2018/2/layout/IconVerticalSolidList"/>
    <dgm:cxn modelId="{AB1DCB0F-FF20-4D31-9A22-9703A4A349FF}" type="presParOf" srcId="{4DEF3117-8A5A-458D-881B-10B2ACCAB362}" destId="{24931F5D-5E16-4A87-A9D2-51F34F2AEE47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D7DFDA6-E816-47B2-9567-C5BB0EEB594A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D59F25E-8D6B-4DDC-88B3-DDA63EF0643B}" type="parTrans" cxnId="{1E3F68E4-0052-4B6A-B451-7C195C369B3E}">
      <dgm:prSet/>
      <dgm:spPr/>
      <dgm:t>
        <a:bodyPr/>
        <a:lstStyle/>
        <a:p>
          <a:endParaRPr lang="en-US"/>
        </a:p>
      </dgm:t>
    </dgm:pt>
    <dgm:pt modelId="{04AB9A4F-D9FE-47DA-8246-2A78DFA5655C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2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l vostro comportamento mette a disagio le persone o crea conflitti non necessari?</a:t>
          </a:r>
          <a:endParaRPr lang="en-US"/>
        </a:p>
      </dgm:t>
    </dgm:pt>
    <dgm:pt modelId="{EF4C7FAD-6507-4D93-A5CA-31A3D9E541FB}" type="sibTrans" cxnId="{1E3F68E4-0052-4B6A-B451-7C195C369B3E}">
      <dgm:prSet/>
      <dgm:spPr/>
      <dgm:t>
        <a:bodyPr/>
        <a:lstStyle/>
        <a:p>
          <a:endParaRPr lang="en-US"/>
        </a:p>
      </dgm:t>
    </dgm:pt>
    <dgm:pt modelId="{B4F0A06B-6C5B-49F8-8386-5178C2202F1F}" type="parTrans" cxnId="{F11166FC-AE45-4C68-8A24-838D2B2989D1}">
      <dgm:prSet/>
      <dgm:spPr/>
      <dgm:t>
        <a:bodyPr/>
        <a:lstStyle/>
        <a:p>
          <a:endParaRPr lang="en-US"/>
        </a:p>
      </dgm:t>
    </dgm:pt>
    <dgm:pt modelId="{E36DD077-4630-49D3-894A-E54327E79495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2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aresti in imbarazzo se i tuoi amici, familiari o leader della comunità venissero a conoscenza del tuo comportamento?</a:t>
          </a:r>
          <a:endParaRPr lang="en-US"/>
        </a:p>
      </dgm:t>
    </dgm:pt>
    <dgm:pt modelId="{37C34F6D-8763-4626-85D8-27B76A047C36}" type="sibTrans" cxnId="{F11166FC-AE45-4C68-8A24-838D2B2989D1}">
      <dgm:prSet/>
      <dgm:spPr/>
      <dgm:t>
        <a:bodyPr/>
        <a:lstStyle/>
        <a:p>
          <a:endParaRPr lang="en-US"/>
        </a:p>
      </dgm:t>
    </dgm:pt>
    <dgm:pt modelId="{36E166FB-1D32-4380-849D-9E46BEC66E4B}" type="parTrans" cxnId="{C195F0CD-136F-452A-89DE-C431FFC0CC7F}">
      <dgm:prSet/>
      <dgm:spPr/>
      <dgm:t>
        <a:bodyPr/>
        <a:lstStyle/>
        <a:p>
          <a:endParaRPr lang="en-US"/>
        </a:p>
      </dgm:t>
    </dgm:pt>
    <dgm:pt modelId="{22A170D8-7824-4DB9-A761-E3407BE28B42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2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l tuo comportamento è rilevante o necessario per il tuo lavoro o le tue prestazioni?</a:t>
          </a:r>
          <a:endParaRPr lang="en-US"/>
        </a:p>
      </dgm:t>
    </dgm:pt>
    <dgm:pt modelId="{4452BAC6-2866-4B98-816A-4BB16706752C}" type="sibTrans" cxnId="{C195F0CD-136F-452A-89DE-C431FFC0CC7F}">
      <dgm:prSet/>
      <dgm:spPr/>
      <dgm:t>
        <a:bodyPr/>
        <a:lstStyle/>
        <a:p>
          <a:endParaRPr lang="en-US"/>
        </a:p>
      </dgm:t>
    </dgm:pt>
    <dgm:pt modelId="{763C86D9-2FBC-451F-807E-0D6E3FC96AC4}" type="parTrans" cxnId="{33B94DED-D5D8-4AA4-90CF-76269E184693}">
      <dgm:prSet/>
      <dgm:spPr/>
      <dgm:t>
        <a:bodyPr/>
        <a:lstStyle/>
        <a:p>
          <a:endParaRPr lang="en-US"/>
        </a:p>
      </dgm:t>
    </dgm:pt>
    <dgm:pt modelId="{99AECD81-A579-436B-B436-13B4FBC1CBD3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2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e rispondete sì a una qualsiasi di queste domande, pensate se ciò che state facendo o dicendo è appropriato.</a:t>
          </a:r>
          <a:endParaRPr lang="en-US"/>
        </a:p>
      </dgm:t>
    </dgm:pt>
    <dgm:pt modelId="{16B654AB-35BC-4062-8FB9-A021A4EDF7E1}" type="sibTrans" cxnId="{33B94DED-D5D8-4AA4-90CF-76269E184693}">
      <dgm:prSet/>
      <dgm:spPr/>
      <dgm:t>
        <a:bodyPr/>
        <a:lstStyle/>
        <a:p>
          <a:endParaRPr lang="en-US"/>
        </a:p>
      </dgm:t>
    </dgm:pt>
    <dgm:pt modelId="{0F90807F-9B06-41A3-9F46-0A44E44457E4}" type="pres">
      <dgm:prSet presAssocID="{ED7DFDA6-E816-47B2-9567-C5BB0EEB594A}" presName="diagram" presStyleCnt="0">
        <dgm:presLayoutVars>
          <dgm:dir/>
          <dgm:resizeHandles val="exact"/>
        </dgm:presLayoutVars>
      </dgm:prSet>
      <dgm:spPr/>
    </dgm:pt>
    <dgm:pt modelId="{6DF8FA57-199B-4FDE-9C3F-99E925313025}" type="pres">
      <dgm:prSet presAssocID="{04AB9A4F-D9FE-47DA-8246-2A78DFA5655C}" presName="node" presStyleLbl="node1" presStyleIdx="0" presStyleCnt="4">
        <dgm:presLayoutVars>
          <dgm:bulletEnabled val="1"/>
        </dgm:presLayoutVars>
      </dgm:prSet>
      <dgm:spPr/>
    </dgm:pt>
    <dgm:pt modelId="{C8248DB2-9292-4124-B95E-ED8B9287618C}" type="pres">
      <dgm:prSet presAssocID="{EF4C7FAD-6507-4D93-A5CA-31A3D9E541FB}" presName="sibTrans" presStyleCnt="0"/>
      <dgm:spPr/>
    </dgm:pt>
    <dgm:pt modelId="{8E972E1B-CF68-4A49-915B-097B6B17B149}" type="pres">
      <dgm:prSet presAssocID="{E36DD077-4630-49D3-894A-E54327E79495}" presName="node" presStyleLbl="node1" presStyleIdx="1" presStyleCnt="4">
        <dgm:presLayoutVars>
          <dgm:bulletEnabled val="1"/>
        </dgm:presLayoutVars>
      </dgm:prSet>
      <dgm:spPr/>
    </dgm:pt>
    <dgm:pt modelId="{A072F57F-2EA5-41A1-9F6E-0A889D4B4517}" type="pres">
      <dgm:prSet presAssocID="{37C34F6D-8763-4626-85D8-27B76A047C36}" presName="sibTrans" presStyleCnt="0"/>
      <dgm:spPr/>
    </dgm:pt>
    <dgm:pt modelId="{243CC102-BC16-4CF6-99B1-D3653BCF54DD}" type="pres">
      <dgm:prSet presAssocID="{22A170D8-7824-4DB9-A761-E3407BE28B42}" presName="node" presStyleLbl="node1" presStyleIdx="2" presStyleCnt="4">
        <dgm:presLayoutVars>
          <dgm:bulletEnabled val="1"/>
        </dgm:presLayoutVars>
      </dgm:prSet>
      <dgm:spPr/>
    </dgm:pt>
    <dgm:pt modelId="{3444DF13-928C-4745-AA5A-98EC000EA8C8}" type="pres">
      <dgm:prSet presAssocID="{4452BAC6-2866-4B98-816A-4BB16706752C}" presName="sibTrans" presStyleCnt="0"/>
      <dgm:spPr/>
    </dgm:pt>
    <dgm:pt modelId="{3345AED3-E8AE-40AD-B56E-281783EF31F5}" type="pres">
      <dgm:prSet presAssocID="{99AECD81-A579-436B-B436-13B4FBC1CBD3}" presName="node" presStyleLbl="node1" presStyleIdx="3" presStyleCnt="4">
        <dgm:presLayoutVars>
          <dgm:bulletEnabled val="1"/>
        </dgm:presLayoutVars>
      </dgm:prSet>
      <dgm:spPr/>
    </dgm:pt>
  </dgm:ptLst>
  <dgm:cxnLst>
    <dgm:cxn modelId="{2C342D65-51CD-4666-BE87-375CE7D47A19}" type="presOf" srcId="{ED7DFDA6-E816-47B2-9567-C5BB0EEB594A}" destId="{0F90807F-9B06-41A3-9F46-0A44E44457E4}" srcOrd="0" destOrd="0" presId="urn:microsoft.com/office/officeart/2005/8/layout/default"/>
    <dgm:cxn modelId="{DE745691-5621-4AC0-9464-644A0DCD65B8}" type="presOf" srcId="{99AECD81-A579-436B-B436-13B4FBC1CBD3}" destId="{3345AED3-E8AE-40AD-B56E-281783EF31F5}" srcOrd="0" destOrd="0" presId="urn:microsoft.com/office/officeart/2005/8/layout/default"/>
    <dgm:cxn modelId="{6CEDD2A2-23AA-423C-B922-3E1F0D492F3C}" type="presOf" srcId="{22A170D8-7824-4DB9-A761-E3407BE28B42}" destId="{243CC102-BC16-4CF6-99B1-D3653BCF54DD}" srcOrd="0" destOrd="0" presId="urn:microsoft.com/office/officeart/2005/8/layout/default"/>
    <dgm:cxn modelId="{C195F0CD-136F-452A-89DE-C431FFC0CC7F}" srcId="{ED7DFDA6-E816-47B2-9567-C5BB0EEB594A}" destId="{22A170D8-7824-4DB9-A761-E3407BE28B42}" srcOrd="2" destOrd="0" parTransId="{36E166FB-1D32-4380-849D-9E46BEC66E4B}" sibTransId="{4452BAC6-2866-4B98-816A-4BB16706752C}"/>
    <dgm:cxn modelId="{7D4211D3-4179-475A-8CD6-25A73BC59C8B}" type="presOf" srcId="{04AB9A4F-D9FE-47DA-8246-2A78DFA5655C}" destId="{6DF8FA57-199B-4FDE-9C3F-99E925313025}" srcOrd="0" destOrd="0" presId="urn:microsoft.com/office/officeart/2005/8/layout/default"/>
    <dgm:cxn modelId="{1E3F68E4-0052-4B6A-B451-7C195C369B3E}" srcId="{ED7DFDA6-E816-47B2-9567-C5BB0EEB594A}" destId="{04AB9A4F-D9FE-47DA-8246-2A78DFA5655C}" srcOrd="0" destOrd="0" parTransId="{ED59F25E-8D6B-4DDC-88B3-DDA63EF0643B}" sibTransId="{EF4C7FAD-6507-4D93-A5CA-31A3D9E541FB}"/>
    <dgm:cxn modelId="{33B94DED-D5D8-4AA4-90CF-76269E184693}" srcId="{ED7DFDA6-E816-47B2-9567-C5BB0EEB594A}" destId="{99AECD81-A579-436B-B436-13B4FBC1CBD3}" srcOrd="3" destOrd="0" parTransId="{763C86D9-2FBC-451F-807E-0D6E3FC96AC4}" sibTransId="{16B654AB-35BC-4062-8FB9-A021A4EDF7E1}"/>
    <dgm:cxn modelId="{9348D5F3-C777-4555-B938-56B1B78A12D0}" type="presOf" srcId="{E36DD077-4630-49D3-894A-E54327E79495}" destId="{8E972E1B-CF68-4A49-915B-097B6B17B149}" srcOrd="0" destOrd="0" presId="urn:microsoft.com/office/officeart/2005/8/layout/default"/>
    <dgm:cxn modelId="{F11166FC-AE45-4C68-8A24-838D2B2989D1}" srcId="{ED7DFDA6-E816-47B2-9567-C5BB0EEB594A}" destId="{E36DD077-4630-49D3-894A-E54327E79495}" srcOrd="1" destOrd="0" parTransId="{B4F0A06B-6C5B-49F8-8386-5178C2202F1F}" sibTransId="{37C34F6D-8763-4626-85D8-27B76A047C36}"/>
    <dgm:cxn modelId="{2A8AB0E4-5315-4B2F-B318-7712A8E80183}" type="presParOf" srcId="{0F90807F-9B06-41A3-9F46-0A44E44457E4}" destId="{6DF8FA57-199B-4FDE-9C3F-99E925313025}" srcOrd="0" destOrd="0" presId="urn:microsoft.com/office/officeart/2005/8/layout/default"/>
    <dgm:cxn modelId="{DE0F1BCD-E6EF-470D-8290-B461CD0AB9A5}" type="presParOf" srcId="{0F90807F-9B06-41A3-9F46-0A44E44457E4}" destId="{C8248DB2-9292-4124-B95E-ED8B9287618C}" srcOrd="1" destOrd="0" presId="urn:microsoft.com/office/officeart/2005/8/layout/default"/>
    <dgm:cxn modelId="{CE8CC65F-178C-46AC-97A8-D3CE8C1018A7}" type="presParOf" srcId="{0F90807F-9B06-41A3-9F46-0A44E44457E4}" destId="{8E972E1B-CF68-4A49-915B-097B6B17B149}" srcOrd="2" destOrd="0" presId="urn:microsoft.com/office/officeart/2005/8/layout/default"/>
    <dgm:cxn modelId="{E6F31C4A-DB2D-40E1-8742-3EDEA52BEFC4}" type="presParOf" srcId="{0F90807F-9B06-41A3-9F46-0A44E44457E4}" destId="{A072F57F-2EA5-41A1-9F6E-0A889D4B4517}" srcOrd="3" destOrd="0" presId="urn:microsoft.com/office/officeart/2005/8/layout/default"/>
    <dgm:cxn modelId="{9FBAF589-3644-4FE2-8CFB-0295323C85F3}" type="presParOf" srcId="{0F90807F-9B06-41A3-9F46-0A44E44457E4}" destId="{243CC102-BC16-4CF6-99B1-D3653BCF54DD}" srcOrd="4" destOrd="0" presId="urn:microsoft.com/office/officeart/2005/8/layout/default"/>
    <dgm:cxn modelId="{046817AB-7BEC-41EC-9ED3-D76E8AA54374}" type="presParOf" srcId="{0F90807F-9B06-41A3-9F46-0A44E44457E4}" destId="{3444DF13-928C-4745-AA5A-98EC000EA8C8}" srcOrd="5" destOrd="0" presId="urn:microsoft.com/office/officeart/2005/8/layout/default"/>
    <dgm:cxn modelId="{1233AF6A-DE66-4883-8190-2B549068E087}" type="presParOf" srcId="{0F90807F-9B06-41A3-9F46-0A44E44457E4}" destId="{3345AED3-E8AE-40AD-B56E-281783EF31F5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9FC8E42-7B95-42F1-983B-A5AE72E8C5C0}" type="doc">
      <dgm:prSet loTypeId="urn:diagrams.loki3.com/BracketList" loCatId="officeonlin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B4AC6B5-0AE8-4CF2-984B-CC67AC15CFC5}" type="parTrans" cxnId="{4A110323-E897-4374-8918-31FDF5B7C3D4}">
      <dgm:prSet/>
      <dgm:spPr/>
      <dgm:t>
        <a:bodyPr/>
        <a:lstStyle/>
        <a:p>
          <a:endParaRPr lang="en-US"/>
        </a:p>
      </dgm:t>
    </dgm:pt>
    <dgm:pt modelId="{972C802A-DE7C-4CFB-AB82-96FFF3476E4E}">
      <dgm:prSet phldrT="[Text]" custT="1"/>
      <dgm:spPr>
        <a:noFill/>
        <a:ln>
          <a:noFill/>
        </a:ln>
      </dgm:spPr>
      <dgm:t>
        <a:bodyPr/>
        <a:lstStyle/>
        <a:p>
          <a:r>
            <a:rPr lang="it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tatto con gli occhi</a:t>
          </a:r>
        </a:p>
      </dgm:t>
    </dgm:pt>
    <dgm:pt modelId="{FECE0BF8-ECB4-4A4E-8988-734D3D2C1857}" type="parTrans" cxnId="{14012282-F7FD-4DDA-A932-D3EA59C950CF}">
      <dgm:prSet/>
      <dgm:spPr/>
      <dgm:t>
        <a:bodyPr/>
        <a:lstStyle/>
        <a:p>
          <a:endParaRPr lang="en-US"/>
        </a:p>
      </dgm:t>
    </dgm:pt>
    <dgm:pt modelId="{5F062A7C-B06E-4406-B0DD-354232FCE705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La persona sta entrando in contatto con gli occhi? O lo stanno evitando?</a:t>
          </a:r>
        </a:p>
      </dgm:t>
    </dgm:pt>
    <dgm:pt modelId="{CA457DF6-CDBB-4DA3-BD1A-617D376AAEBA}" type="sibTrans" cxnId="{14012282-F7FD-4DDA-A932-D3EA59C950CF}">
      <dgm:prSet/>
      <dgm:spPr/>
      <dgm:t>
        <a:bodyPr/>
        <a:lstStyle/>
        <a:p>
          <a:endParaRPr lang="en-US"/>
        </a:p>
      </dgm:t>
    </dgm:pt>
    <dgm:pt modelId="{256E1FC6-3853-4AE2-86E4-6245C7BF4F37}" type="sibTrans" cxnId="{4A110323-E897-4374-8918-31FDF5B7C3D4}">
      <dgm:prSet/>
      <dgm:spPr/>
      <dgm:t>
        <a:bodyPr/>
        <a:lstStyle/>
        <a:p>
          <a:endParaRPr lang="en-US"/>
        </a:p>
      </dgm:t>
    </dgm:pt>
    <dgm:pt modelId="{67B9D431-DA4A-4643-B490-76689F1C1084}" type="parTrans" cxnId="{8C8CCF13-77B1-4F4F-9B5E-CA17FC995CC3}">
      <dgm:prSet/>
      <dgm:spPr/>
      <dgm:t>
        <a:bodyPr/>
        <a:lstStyle/>
        <a:p>
          <a:endParaRPr lang="en-US"/>
        </a:p>
      </dgm:t>
    </dgm:pt>
    <dgm:pt modelId="{F338A198-B74D-4D23-AE14-A82F11E1DAD8}">
      <dgm:prSet phldrT="[Text]" custT="1"/>
      <dgm:spPr>
        <a:noFill/>
        <a:ln>
          <a:noFill/>
        </a:ln>
      </dgm:spPr>
      <dgm:t>
        <a:bodyPr/>
        <a:lstStyle/>
        <a:p>
          <a:r>
            <a:rPr lang="it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Espressioni facciali</a:t>
          </a:r>
        </a:p>
      </dgm:t>
    </dgm:pt>
    <dgm:pt modelId="{64C787F3-2068-421D-BD82-D745F1B49B24}" type="parTrans" cxnId="{8A4AD344-2E8D-4B90-8824-4D7288A302FD}">
      <dgm:prSet/>
      <dgm:spPr/>
      <dgm:t>
        <a:bodyPr/>
        <a:lstStyle/>
        <a:p>
          <a:endParaRPr lang="en-US"/>
        </a:p>
      </dgm:t>
    </dgm:pt>
    <dgm:pt modelId="{84A836FC-AAFB-43A3-89CD-795F4C354296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l viso della persona esprime calore e interesse? Oppure è vuoto o mostra disagio?</a:t>
          </a:r>
        </a:p>
      </dgm:t>
    </dgm:pt>
    <dgm:pt modelId="{54346FDA-23C8-4590-AE78-C257FFBA5052}" type="sibTrans" cxnId="{8A4AD344-2E8D-4B90-8824-4D7288A302FD}">
      <dgm:prSet/>
      <dgm:spPr/>
      <dgm:t>
        <a:bodyPr/>
        <a:lstStyle/>
        <a:p>
          <a:endParaRPr lang="en-US"/>
        </a:p>
      </dgm:t>
    </dgm:pt>
    <dgm:pt modelId="{C58A6317-70AB-4D9F-B558-C995C9E345F3}" type="sibTrans" cxnId="{8C8CCF13-77B1-4F4F-9B5E-CA17FC995CC3}">
      <dgm:prSet/>
      <dgm:spPr/>
      <dgm:t>
        <a:bodyPr/>
        <a:lstStyle/>
        <a:p>
          <a:endParaRPr lang="en-US"/>
        </a:p>
      </dgm:t>
    </dgm:pt>
    <dgm:pt modelId="{37BEA225-0283-4195-B462-B25B05722CBB}" type="parTrans" cxnId="{4EAA98AE-0A2B-465E-99DD-44CA361285A5}">
      <dgm:prSet/>
      <dgm:spPr/>
      <dgm:t>
        <a:bodyPr/>
        <a:lstStyle/>
        <a:p>
          <a:endParaRPr lang="en-US"/>
        </a:p>
      </dgm:t>
    </dgm:pt>
    <dgm:pt modelId="{9B75E048-2AA5-47D4-B202-E2AF294A9841}">
      <dgm:prSet phldrT="[Text]" custT="1"/>
      <dgm:spPr>
        <a:noFill/>
        <a:ln>
          <a:noFill/>
        </a:ln>
      </dgm:spPr>
      <dgm:t>
        <a:bodyPr/>
        <a:lstStyle/>
        <a:p>
          <a:r>
            <a:rPr lang="it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ono di voce</a:t>
          </a:r>
        </a:p>
      </dgm:t>
    </dgm:pt>
    <dgm:pt modelId="{9F71C79D-2DD7-4C89-AEFB-6AAFE803B690}" type="parTrans" cxnId="{14EE0B29-B6AC-461C-993D-27504396D7C8}">
      <dgm:prSet/>
      <dgm:spPr/>
      <dgm:t>
        <a:bodyPr/>
        <a:lstStyle/>
        <a:p>
          <a:endParaRPr lang="en-US"/>
        </a:p>
      </dgm:t>
    </dgm:pt>
    <dgm:pt modelId="{DDF099B8-1FB4-42BC-8CF7-4F0946E8CE06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La voce della persona proietta conforto o interesse? Oppure è teso?</a:t>
          </a:r>
        </a:p>
      </dgm:t>
    </dgm:pt>
    <dgm:pt modelId="{94CDA1BF-C6A2-44A8-AD23-C61A10A970F6}" type="sibTrans" cxnId="{14EE0B29-B6AC-461C-993D-27504396D7C8}">
      <dgm:prSet/>
      <dgm:spPr/>
      <dgm:t>
        <a:bodyPr/>
        <a:lstStyle/>
        <a:p>
          <a:endParaRPr lang="en-US"/>
        </a:p>
      </dgm:t>
    </dgm:pt>
    <dgm:pt modelId="{98FC8C8A-113E-4040-8FD7-F6E4AEB3E5A7}" type="sibTrans" cxnId="{4EAA98AE-0A2B-465E-99DD-44CA361285A5}">
      <dgm:prSet/>
      <dgm:spPr/>
      <dgm:t>
        <a:bodyPr/>
        <a:lstStyle/>
        <a:p>
          <a:endParaRPr lang="en-US"/>
        </a:p>
      </dgm:t>
    </dgm:pt>
    <dgm:pt modelId="{9ACD4190-12A2-49CD-AB0A-A5666B7B7918}" type="parTrans" cxnId="{08E6E774-C2F5-42FF-9F5A-203ABC49769E}">
      <dgm:prSet/>
      <dgm:spPr/>
      <dgm:t>
        <a:bodyPr/>
        <a:lstStyle/>
        <a:p>
          <a:endParaRPr lang="en-US"/>
        </a:p>
      </dgm:t>
    </dgm:pt>
    <dgm:pt modelId="{6CBE69AA-1EAC-4424-B2B7-3F6E128CB8BA}">
      <dgm:prSet phldrT="[Text]" custT="1"/>
      <dgm:spPr>
        <a:noFill/>
        <a:ln>
          <a:noFill/>
        </a:ln>
      </dgm:spPr>
      <dgm:t>
        <a:bodyPr/>
        <a:lstStyle/>
        <a:p>
          <a:r>
            <a:rPr lang="it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ostura e gesti</a:t>
          </a:r>
        </a:p>
      </dgm:t>
    </dgm:pt>
    <dgm:pt modelId="{F38D2D14-BB0A-4111-968D-AD271D79AD40}" type="parTrans" cxnId="{6BD10DA9-85BA-4B9F-B094-4F2484CEB4FC}">
      <dgm:prSet/>
      <dgm:spPr/>
      <dgm:t>
        <a:bodyPr/>
        <a:lstStyle/>
        <a:p>
          <a:endParaRPr lang="en-US"/>
        </a:p>
      </dgm:t>
    </dgm:pt>
    <dgm:pt modelId="{BD181532-2AC9-4658-A2DD-0F002D433353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l corpo della persona è rilassato? Oppure è rigido e immobile?</a:t>
          </a:r>
        </a:p>
      </dgm:t>
    </dgm:pt>
    <dgm:pt modelId="{29DE9D28-1260-47FE-910D-47692CA2A79C}" type="sibTrans" cxnId="{6BD10DA9-85BA-4B9F-B094-4F2484CEB4FC}">
      <dgm:prSet/>
      <dgm:spPr/>
      <dgm:t>
        <a:bodyPr/>
        <a:lstStyle/>
        <a:p>
          <a:endParaRPr lang="en-US"/>
        </a:p>
      </dgm:t>
    </dgm:pt>
    <dgm:pt modelId="{7B16840F-5494-45CE-9189-F7F911A2009B}" type="sibTrans" cxnId="{08E6E774-C2F5-42FF-9F5A-203ABC49769E}">
      <dgm:prSet/>
      <dgm:spPr/>
      <dgm:t>
        <a:bodyPr/>
        <a:lstStyle/>
        <a:p>
          <a:endParaRPr lang="en-US"/>
        </a:p>
      </dgm:t>
    </dgm:pt>
    <dgm:pt modelId="{807F1521-882E-4D39-8BF8-417E16E78EDB}" type="parTrans" cxnId="{D6FBF916-5526-4F38-B340-CFACA1C328C0}">
      <dgm:prSet/>
      <dgm:spPr/>
      <dgm:t>
        <a:bodyPr/>
        <a:lstStyle/>
        <a:p>
          <a:endParaRPr lang="en-US"/>
        </a:p>
      </dgm:t>
    </dgm:pt>
    <dgm:pt modelId="{89CC7EA6-749B-42BC-978E-A38075F5C72B}">
      <dgm:prSet phldrT="[Text]" custT="1"/>
      <dgm:spPr>
        <a:noFill/>
        <a:ln>
          <a:noFill/>
        </a:ln>
      </dgm:spPr>
      <dgm:t>
        <a:bodyPr/>
        <a:lstStyle/>
        <a:p>
          <a:r>
            <a:rPr lang="it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empistica e luogo</a:t>
          </a:r>
        </a:p>
      </dgm:t>
    </dgm:pt>
    <dgm:pt modelId="{FDC2816E-1A03-468B-9061-AEA76AC6A994}" type="parTrans" cxnId="{7B888956-DB7C-44C5-ABEC-9B8A5F8F0A0F}">
      <dgm:prSet/>
      <dgm:spPr/>
      <dgm:t>
        <a:bodyPr/>
        <a:lstStyle/>
        <a:p>
          <a:endParaRPr lang="en-US"/>
        </a:p>
      </dgm:t>
    </dgm:pt>
    <dgm:pt modelId="{CF86E16C-B51F-4AC4-B847-500574210A22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Esiste un facile flusso di informazioni avanti e indietro? Oppure si tratta in gran parte di una conversazione unidirezionale?</a:t>
          </a:r>
        </a:p>
      </dgm:t>
    </dgm:pt>
    <dgm:pt modelId="{F690D86F-5A1D-4097-8241-2BC5BE27F639}" type="sibTrans" cxnId="{7B888956-DB7C-44C5-ABEC-9B8A5F8F0A0F}">
      <dgm:prSet/>
      <dgm:spPr/>
      <dgm:t>
        <a:bodyPr/>
        <a:lstStyle/>
        <a:p>
          <a:endParaRPr lang="en-US"/>
        </a:p>
      </dgm:t>
    </dgm:pt>
    <dgm:pt modelId="{343B9B90-5CA5-4DF2-A625-3A6F77D8A08D}" type="sibTrans" cxnId="{D6FBF916-5526-4F38-B340-CFACA1C328C0}">
      <dgm:prSet/>
      <dgm:spPr/>
      <dgm:t>
        <a:bodyPr/>
        <a:lstStyle/>
        <a:p>
          <a:endParaRPr lang="en-US"/>
        </a:p>
      </dgm:t>
    </dgm:pt>
    <dgm:pt modelId="{1D9BFEA0-AC8A-42F4-B30D-03560ADA1EA1}" type="parTrans" cxnId="{2C7CE460-B92C-4758-8FD4-2F2C25B8A943}">
      <dgm:prSet/>
      <dgm:spPr/>
      <dgm:t>
        <a:bodyPr/>
        <a:lstStyle/>
        <a:p>
          <a:endParaRPr lang="en-US"/>
        </a:p>
      </dgm:t>
    </dgm:pt>
    <dgm:pt modelId="{D627C789-0051-4A89-95D0-9984E46E197F}">
      <dgm:prSet phldrT="[Text]" custT="1"/>
      <dgm:spPr>
        <a:noFill/>
        <a:ln>
          <a:noFill/>
        </a:ln>
      </dgm:spPr>
      <dgm:t>
        <a:bodyPr/>
        <a:lstStyle/>
        <a:p>
          <a:r>
            <a:rPr lang="it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involgimento</a:t>
          </a:r>
        </a:p>
      </dgm:t>
    </dgm:pt>
    <dgm:pt modelId="{EAD9AE3A-A04C-45C7-881F-78EF9496FA8C}" type="parTrans" cxnId="{01B26DEE-2005-4474-9846-D8D5840400BF}">
      <dgm:prSet/>
      <dgm:spPr/>
      <dgm:t>
        <a:bodyPr/>
        <a:lstStyle/>
        <a:p>
          <a:endParaRPr lang="en-US"/>
        </a:p>
      </dgm:t>
    </dgm:pt>
    <dgm:pt modelId="{DA8ECFEB-D442-451D-8936-BBB3F6B74CCF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embra che la persona si stia godendo la conversazione? Oppure stanno cercando un’uscita dall’interazione?</a:t>
          </a:r>
        </a:p>
      </dgm:t>
    </dgm:pt>
    <dgm:pt modelId="{97E46952-7C1B-4E28-9386-BD36EE33617D}" type="sibTrans" cxnId="{01B26DEE-2005-4474-9846-D8D5840400BF}">
      <dgm:prSet/>
      <dgm:spPr/>
      <dgm:t>
        <a:bodyPr/>
        <a:lstStyle/>
        <a:p>
          <a:endParaRPr lang="en-US"/>
        </a:p>
      </dgm:t>
    </dgm:pt>
    <dgm:pt modelId="{93187921-8FD1-4FDC-8010-6C08D72CF9A5}" type="sibTrans" cxnId="{2C7CE460-B92C-4758-8FD4-2F2C25B8A943}">
      <dgm:prSet/>
      <dgm:spPr/>
      <dgm:t>
        <a:bodyPr/>
        <a:lstStyle/>
        <a:p>
          <a:endParaRPr lang="en-US"/>
        </a:p>
      </dgm:t>
    </dgm:pt>
    <dgm:pt modelId="{60E112F2-CD0F-460D-921B-374A913F71ED}" type="pres">
      <dgm:prSet presAssocID="{A9FC8E42-7B95-42F1-983B-A5AE72E8C5C0}" presName="Name0" presStyleCnt="0">
        <dgm:presLayoutVars>
          <dgm:dir/>
          <dgm:animLvl val="lvl"/>
          <dgm:resizeHandles val="exact"/>
        </dgm:presLayoutVars>
      </dgm:prSet>
      <dgm:spPr/>
    </dgm:pt>
    <dgm:pt modelId="{1A038524-604E-4D2F-9D7E-113C69B7C141}" type="pres">
      <dgm:prSet presAssocID="{972C802A-DE7C-4CFB-AB82-96FFF3476E4E}" presName="linNode" presStyleCnt="0"/>
      <dgm:spPr/>
    </dgm:pt>
    <dgm:pt modelId="{66F51E0D-D045-4E2B-AB0C-4F2EC15C2742}" type="pres">
      <dgm:prSet presAssocID="{972C802A-DE7C-4CFB-AB82-96FFF3476E4E}" presName="parTx" presStyleLbl="revTx" presStyleIdx="0" presStyleCnt="6">
        <dgm:presLayoutVars>
          <dgm:chMax val="1"/>
          <dgm:bulletEnabled val="1"/>
        </dgm:presLayoutVars>
      </dgm:prSet>
      <dgm:spPr/>
    </dgm:pt>
    <dgm:pt modelId="{FC80247D-E118-4105-90BF-F29AB52D411B}" type="pres">
      <dgm:prSet presAssocID="{972C802A-DE7C-4CFB-AB82-96FFF3476E4E}" presName="bracket" presStyleLbl="parChTrans1D1" presStyleIdx="0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0FD2FB49-ED8B-4824-AEAF-3A94420311F8}" type="pres">
      <dgm:prSet presAssocID="{972C802A-DE7C-4CFB-AB82-96FFF3476E4E}" presName="spH" presStyleCnt="0"/>
      <dgm:spPr/>
    </dgm:pt>
    <dgm:pt modelId="{D5929079-7C2E-4F45-A6B9-1B7792F83AEF}" type="pres">
      <dgm:prSet presAssocID="{972C802A-DE7C-4CFB-AB82-96FFF3476E4E}" presName="desTx" presStyleLbl="node1" presStyleIdx="0" presStyleCnt="6">
        <dgm:presLayoutVars>
          <dgm:bulletEnabled val="1"/>
        </dgm:presLayoutVars>
      </dgm:prSet>
      <dgm:spPr/>
    </dgm:pt>
    <dgm:pt modelId="{7DF0E247-63B9-4008-A971-6F49D7F9E081}" type="pres">
      <dgm:prSet presAssocID="{256E1FC6-3853-4AE2-86E4-6245C7BF4F37}" presName="spV" presStyleCnt="0"/>
      <dgm:spPr/>
    </dgm:pt>
    <dgm:pt modelId="{E59D26DB-AF0C-4FA9-84AF-32ED08C4AC0A}" type="pres">
      <dgm:prSet presAssocID="{F338A198-B74D-4D23-AE14-A82F11E1DAD8}" presName="linNode" presStyleCnt="0"/>
      <dgm:spPr/>
    </dgm:pt>
    <dgm:pt modelId="{33D9AD84-C2DD-43AA-B8C0-6E15771BE78B}" type="pres">
      <dgm:prSet presAssocID="{F338A198-B74D-4D23-AE14-A82F11E1DAD8}" presName="parTx" presStyleLbl="revTx" presStyleIdx="1" presStyleCnt="6">
        <dgm:presLayoutVars>
          <dgm:chMax val="1"/>
          <dgm:bulletEnabled val="1"/>
        </dgm:presLayoutVars>
      </dgm:prSet>
      <dgm:spPr/>
    </dgm:pt>
    <dgm:pt modelId="{9117B35D-C06B-428F-8A45-50C11E8FFA23}" type="pres">
      <dgm:prSet presAssocID="{F338A198-B74D-4D23-AE14-A82F11E1DAD8}" presName="bracket" presStyleLbl="parChTrans1D1" presStyleIdx="1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EA474D2E-5346-44AA-8F49-9AD64CE626D8}" type="pres">
      <dgm:prSet presAssocID="{F338A198-B74D-4D23-AE14-A82F11E1DAD8}" presName="spH" presStyleCnt="0"/>
      <dgm:spPr/>
    </dgm:pt>
    <dgm:pt modelId="{34E5CFAF-7A5E-4128-8997-A5651A906319}" type="pres">
      <dgm:prSet presAssocID="{F338A198-B74D-4D23-AE14-A82F11E1DAD8}" presName="desTx" presStyleLbl="node1" presStyleIdx="1" presStyleCnt="6">
        <dgm:presLayoutVars>
          <dgm:bulletEnabled val="1"/>
        </dgm:presLayoutVars>
      </dgm:prSet>
      <dgm:spPr/>
    </dgm:pt>
    <dgm:pt modelId="{00C54DFA-A3F8-406C-B094-0E3D2CF0786D}" type="pres">
      <dgm:prSet presAssocID="{C58A6317-70AB-4D9F-B558-C995C9E345F3}" presName="spV" presStyleCnt="0"/>
      <dgm:spPr/>
    </dgm:pt>
    <dgm:pt modelId="{92973F54-1F5B-4C40-BBAB-9E62B4F56DA9}" type="pres">
      <dgm:prSet presAssocID="{9B75E048-2AA5-47D4-B202-E2AF294A9841}" presName="linNode" presStyleCnt="0"/>
      <dgm:spPr/>
    </dgm:pt>
    <dgm:pt modelId="{5400C3F5-CC03-4C92-9C64-BD6ED3005EC2}" type="pres">
      <dgm:prSet presAssocID="{9B75E048-2AA5-47D4-B202-E2AF294A9841}" presName="parTx" presStyleLbl="revTx" presStyleIdx="2" presStyleCnt="6">
        <dgm:presLayoutVars>
          <dgm:chMax val="1"/>
          <dgm:bulletEnabled val="1"/>
        </dgm:presLayoutVars>
      </dgm:prSet>
      <dgm:spPr/>
    </dgm:pt>
    <dgm:pt modelId="{C3AF3EC1-996A-46C1-B710-476892751235}" type="pres">
      <dgm:prSet presAssocID="{9B75E048-2AA5-47D4-B202-E2AF294A9841}" presName="bracket" presStyleLbl="parChTrans1D1" presStyleIdx="2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7A4A087B-252F-42E5-A266-D59FD817BE35}" type="pres">
      <dgm:prSet presAssocID="{9B75E048-2AA5-47D4-B202-E2AF294A9841}" presName="spH" presStyleCnt="0"/>
      <dgm:spPr/>
    </dgm:pt>
    <dgm:pt modelId="{2A87B468-0784-4F3F-9515-BBB3492CC8A0}" type="pres">
      <dgm:prSet presAssocID="{9B75E048-2AA5-47D4-B202-E2AF294A9841}" presName="desTx" presStyleLbl="node1" presStyleIdx="2" presStyleCnt="6">
        <dgm:presLayoutVars>
          <dgm:bulletEnabled val="1"/>
        </dgm:presLayoutVars>
      </dgm:prSet>
      <dgm:spPr/>
    </dgm:pt>
    <dgm:pt modelId="{DB5F5B3A-2AB1-40C7-A339-6D58ABE1BB22}" type="pres">
      <dgm:prSet presAssocID="{98FC8C8A-113E-4040-8FD7-F6E4AEB3E5A7}" presName="spV" presStyleCnt="0"/>
      <dgm:spPr/>
    </dgm:pt>
    <dgm:pt modelId="{308F86B7-D941-4219-B1EF-1DF0218329AF}" type="pres">
      <dgm:prSet presAssocID="{6CBE69AA-1EAC-4424-B2B7-3F6E128CB8BA}" presName="linNode" presStyleCnt="0"/>
      <dgm:spPr/>
    </dgm:pt>
    <dgm:pt modelId="{85BD6EBC-B7BD-4283-9195-03758FD188DF}" type="pres">
      <dgm:prSet presAssocID="{6CBE69AA-1EAC-4424-B2B7-3F6E128CB8BA}" presName="parTx" presStyleLbl="revTx" presStyleIdx="3" presStyleCnt="6">
        <dgm:presLayoutVars>
          <dgm:chMax val="1"/>
          <dgm:bulletEnabled val="1"/>
        </dgm:presLayoutVars>
      </dgm:prSet>
      <dgm:spPr/>
    </dgm:pt>
    <dgm:pt modelId="{E0FC9C9B-F53E-4A4C-8BA2-1529EE697C2B}" type="pres">
      <dgm:prSet presAssocID="{6CBE69AA-1EAC-4424-B2B7-3F6E128CB8BA}" presName="bracket" presStyleLbl="parChTrans1D1" presStyleIdx="3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F34B3F96-6075-42A2-BF96-870BB31D26EF}" type="pres">
      <dgm:prSet presAssocID="{6CBE69AA-1EAC-4424-B2B7-3F6E128CB8BA}" presName="spH" presStyleCnt="0"/>
      <dgm:spPr/>
    </dgm:pt>
    <dgm:pt modelId="{0ECD8488-674C-4C0C-9655-2C89CD3ACFBA}" type="pres">
      <dgm:prSet presAssocID="{6CBE69AA-1EAC-4424-B2B7-3F6E128CB8BA}" presName="desTx" presStyleLbl="node1" presStyleIdx="3" presStyleCnt="6">
        <dgm:presLayoutVars>
          <dgm:bulletEnabled val="1"/>
        </dgm:presLayoutVars>
      </dgm:prSet>
      <dgm:spPr/>
    </dgm:pt>
    <dgm:pt modelId="{6D7C8854-9976-4879-849A-A5B35E279A0D}" type="pres">
      <dgm:prSet presAssocID="{7B16840F-5494-45CE-9189-F7F911A2009B}" presName="spV" presStyleCnt="0"/>
      <dgm:spPr/>
    </dgm:pt>
    <dgm:pt modelId="{24457AD7-6E8B-451C-9C78-107477CEA4C7}" type="pres">
      <dgm:prSet presAssocID="{89CC7EA6-749B-42BC-978E-A38075F5C72B}" presName="linNode" presStyleCnt="0"/>
      <dgm:spPr/>
    </dgm:pt>
    <dgm:pt modelId="{A3CD7AA6-38F4-4A44-AF0C-AA53CC2A4238}" type="pres">
      <dgm:prSet presAssocID="{89CC7EA6-749B-42BC-978E-A38075F5C72B}" presName="parTx" presStyleLbl="revTx" presStyleIdx="4" presStyleCnt="6">
        <dgm:presLayoutVars>
          <dgm:chMax val="1"/>
          <dgm:bulletEnabled val="1"/>
        </dgm:presLayoutVars>
      </dgm:prSet>
      <dgm:spPr/>
    </dgm:pt>
    <dgm:pt modelId="{A0BBA243-A395-4F9E-9DD5-840A3D69F33B}" type="pres">
      <dgm:prSet presAssocID="{89CC7EA6-749B-42BC-978E-A38075F5C72B}" presName="bracket" presStyleLbl="parChTrans1D1" presStyleIdx="4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9650CA60-831C-4DAE-AD3E-09277EDC17F8}" type="pres">
      <dgm:prSet presAssocID="{89CC7EA6-749B-42BC-978E-A38075F5C72B}" presName="spH" presStyleCnt="0"/>
      <dgm:spPr/>
    </dgm:pt>
    <dgm:pt modelId="{66AAEBA6-B695-4691-8B00-49D1E4CA4B7B}" type="pres">
      <dgm:prSet presAssocID="{89CC7EA6-749B-42BC-978E-A38075F5C72B}" presName="desTx" presStyleLbl="node1" presStyleIdx="4" presStyleCnt="6">
        <dgm:presLayoutVars>
          <dgm:bulletEnabled val="1"/>
        </dgm:presLayoutVars>
      </dgm:prSet>
      <dgm:spPr/>
    </dgm:pt>
    <dgm:pt modelId="{A5ED09AD-6A6C-4925-BEC7-2C2EBCB9A713}" type="pres">
      <dgm:prSet presAssocID="{343B9B90-5CA5-4DF2-A625-3A6F77D8A08D}" presName="spV" presStyleCnt="0"/>
      <dgm:spPr/>
    </dgm:pt>
    <dgm:pt modelId="{79C6ACE2-EAD3-40F1-A40D-7C08DA6A36F9}" type="pres">
      <dgm:prSet presAssocID="{D627C789-0051-4A89-95D0-9984E46E197F}" presName="linNode" presStyleCnt="0"/>
      <dgm:spPr/>
    </dgm:pt>
    <dgm:pt modelId="{1165B149-41F8-4D08-BA1A-5857706E9CDE}" type="pres">
      <dgm:prSet presAssocID="{D627C789-0051-4A89-95D0-9984E46E197F}" presName="parTx" presStyleLbl="revTx" presStyleIdx="5" presStyleCnt="6">
        <dgm:presLayoutVars>
          <dgm:chMax val="1"/>
          <dgm:bulletEnabled val="1"/>
        </dgm:presLayoutVars>
      </dgm:prSet>
      <dgm:spPr/>
    </dgm:pt>
    <dgm:pt modelId="{0A6E157B-C627-4B14-8B26-59B96448430A}" type="pres">
      <dgm:prSet presAssocID="{D627C789-0051-4A89-95D0-9984E46E197F}" presName="bracket" presStyleLbl="parChTrans1D1" presStyleIdx="5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2D612181-86BE-42DF-B0C0-83C5CE48BEBE}" type="pres">
      <dgm:prSet presAssocID="{D627C789-0051-4A89-95D0-9984E46E197F}" presName="spH" presStyleCnt="0"/>
      <dgm:spPr/>
    </dgm:pt>
    <dgm:pt modelId="{B846999F-8B22-4EFB-AAE0-C9D0AFC0A833}" type="pres">
      <dgm:prSet presAssocID="{D627C789-0051-4A89-95D0-9984E46E197F}" presName="desTx" presStyleLbl="node1" presStyleIdx="5" presStyleCnt="6">
        <dgm:presLayoutVars>
          <dgm:bulletEnabled val="1"/>
        </dgm:presLayoutVars>
      </dgm:prSet>
      <dgm:spPr/>
    </dgm:pt>
  </dgm:ptLst>
  <dgm:cxnLst>
    <dgm:cxn modelId="{8C8CCF13-77B1-4F4F-9B5E-CA17FC995CC3}" srcId="{A9FC8E42-7B95-42F1-983B-A5AE72E8C5C0}" destId="{F338A198-B74D-4D23-AE14-A82F11E1DAD8}" srcOrd="1" destOrd="0" parTransId="{67B9D431-DA4A-4643-B490-76689F1C1084}" sibTransId="{C58A6317-70AB-4D9F-B558-C995C9E345F3}"/>
    <dgm:cxn modelId="{D6FBF916-5526-4F38-B340-CFACA1C328C0}" srcId="{A9FC8E42-7B95-42F1-983B-A5AE72E8C5C0}" destId="{89CC7EA6-749B-42BC-978E-A38075F5C72B}" srcOrd="4" destOrd="0" parTransId="{807F1521-882E-4D39-8BF8-417E16E78EDB}" sibTransId="{343B9B90-5CA5-4DF2-A625-3A6F77D8A08D}"/>
    <dgm:cxn modelId="{4A110323-E897-4374-8918-31FDF5B7C3D4}" srcId="{A9FC8E42-7B95-42F1-983B-A5AE72E8C5C0}" destId="{972C802A-DE7C-4CFB-AB82-96FFF3476E4E}" srcOrd="0" destOrd="0" parTransId="{EB4AC6B5-0AE8-4CF2-984B-CC67AC15CFC5}" sibTransId="{256E1FC6-3853-4AE2-86E4-6245C7BF4F37}"/>
    <dgm:cxn modelId="{14EE0B29-B6AC-461C-993D-27504396D7C8}" srcId="{9B75E048-2AA5-47D4-B202-E2AF294A9841}" destId="{DDF099B8-1FB4-42BC-8CF7-4F0946E8CE06}" srcOrd="0" destOrd="0" parTransId="{9F71C79D-2DD7-4C89-AEFB-6AAFE803B690}" sibTransId="{94CDA1BF-C6A2-44A8-AD23-C61A10A970F6}"/>
    <dgm:cxn modelId="{4A194C39-30D1-454E-BC07-6849D91236FB}" type="presOf" srcId="{5F062A7C-B06E-4406-B0DD-354232FCE705}" destId="{D5929079-7C2E-4F45-A6B9-1B7792F83AEF}" srcOrd="0" destOrd="0" presId="urn:diagrams.loki3.com/BracketList"/>
    <dgm:cxn modelId="{E473C23B-1C3F-4281-8535-35029C321797}" type="presOf" srcId="{DA8ECFEB-D442-451D-8936-BBB3F6B74CCF}" destId="{B846999F-8B22-4EFB-AAE0-C9D0AFC0A833}" srcOrd="0" destOrd="0" presId="urn:diagrams.loki3.com/BracketList"/>
    <dgm:cxn modelId="{5CC93040-9B7F-4F89-A906-2ED7918C6408}" type="presOf" srcId="{CF86E16C-B51F-4AC4-B847-500574210A22}" destId="{66AAEBA6-B695-4691-8B00-49D1E4CA4B7B}" srcOrd="0" destOrd="0" presId="urn:diagrams.loki3.com/BracketList"/>
    <dgm:cxn modelId="{2C7CE460-B92C-4758-8FD4-2F2C25B8A943}" srcId="{A9FC8E42-7B95-42F1-983B-A5AE72E8C5C0}" destId="{D627C789-0051-4A89-95D0-9984E46E197F}" srcOrd="5" destOrd="0" parTransId="{1D9BFEA0-AC8A-42F4-B30D-03560ADA1EA1}" sibTransId="{93187921-8FD1-4FDC-8010-6C08D72CF9A5}"/>
    <dgm:cxn modelId="{8A4AD344-2E8D-4B90-8824-4D7288A302FD}" srcId="{F338A198-B74D-4D23-AE14-A82F11E1DAD8}" destId="{84A836FC-AAFB-43A3-89CD-795F4C354296}" srcOrd="0" destOrd="0" parTransId="{64C787F3-2068-421D-BD82-D745F1B49B24}" sibTransId="{54346FDA-23C8-4590-AE78-C257FFBA5052}"/>
    <dgm:cxn modelId="{AC96056C-0321-4232-A092-DCD9EBA5D38D}" type="presOf" srcId="{89CC7EA6-749B-42BC-978E-A38075F5C72B}" destId="{A3CD7AA6-38F4-4A44-AF0C-AA53CC2A4238}" srcOrd="0" destOrd="0" presId="urn:diagrams.loki3.com/BracketList"/>
    <dgm:cxn modelId="{BB62FB4E-739D-4782-A321-6E868D1BC3D3}" type="presOf" srcId="{A9FC8E42-7B95-42F1-983B-A5AE72E8C5C0}" destId="{60E112F2-CD0F-460D-921B-374A913F71ED}" srcOrd="0" destOrd="0" presId="urn:diagrams.loki3.com/BracketList"/>
    <dgm:cxn modelId="{EB480D51-0218-4ADE-BE81-369F21DB5C22}" type="presOf" srcId="{84A836FC-AAFB-43A3-89CD-795F4C354296}" destId="{34E5CFAF-7A5E-4128-8997-A5651A906319}" srcOrd="0" destOrd="0" presId="urn:diagrams.loki3.com/BracketList"/>
    <dgm:cxn modelId="{08E6E774-C2F5-42FF-9F5A-203ABC49769E}" srcId="{A9FC8E42-7B95-42F1-983B-A5AE72E8C5C0}" destId="{6CBE69AA-1EAC-4424-B2B7-3F6E128CB8BA}" srcOrd="3" destOrd="0" parTransId="{9ACD4190-12A2-49CD-AB0A-A5666B7B7918}" sibTransId="{7B16840F-5494-45CE-9189-F7F911A2009B}"/>
    <dgm:cxn modelId="{7B888956-DB7C-44C5-ABEC-9B8A5F8F0A0F}" srcId="{89CC7EA6-749B-42BC-978E-A38075F5C72B}" destId="{CF86E16C-B51F-4AC4-B847-500574210A22}" srcOrd="0" destOrd="0" parTransId="{FDC2816E-1A03-468B-9061-AEA76AC6A994}" sibTransId="{F690D86F-5A1D-4097-8241-2BC5BE27F639}"/>
    <dgm:cxn modelId="{43D2BD58-8403-484B-B2C8-BFB0FEAC30AD}" type="presOf" srcId="{9B75E048-2AA5-47D4-B202-E2AF294A9841}" destId="{5400C3F5-CC03-4C92-9C64-BD6ED3005EC2}" srcOrd="0" destOrd="0" presId="urn:diagrams.loki3.com/BracketList"/>
    <dgm:cxn modelId="{14012282-F7FD-4DDA-A932-D3EA59C950CF}" srcId="{972C802A-DE7C-4CFB-AB82-96FFF3476E4E}" destId="{5F062A7C-B06E-4406-B0DD-354232FCE705}" srcOrd="0" destOrd="0" parTransId="{FECE0BF8-ECB4-4A4E-8988-734D3D2C1857}" sibTransId="{CA457DF6-CDBB-4DA3-BD1A-617D376AAEBA}"/>
    <dgm:cxn modelId="{3CFB0FA2-2C8A-4AE7-8A11-B305A573838C}" type="presOf" srcId="{F338A198-B74D-4D23-AE14-A82F11E1DAD8}" destId="{33D9AD84-C2DD-43AA-B8C0-6E15771BE78B}" srcOrd="0" destOrd="0" presId="urn:diagrams.loki3.com/BracketList"/>
    <dgm:cxn modelId="{5AC7E3A7-8FCD-4C00-9DFB-00F57B735EEC}" type="presOf" srcId="{D627C789-0051-4A89-95D0-9984E46E197F}" destId="{1165B149-41F8-4D08-BA1A-5857706E9CDE}" srcOrd="0" destOrd="0" presId="urn:diagrams.loki3.com/BracketList"/>
    <dgm:cxn modelId="{6BD10DA9-85BA-4B9F-B094-4F2484CEB4FC}" srcId="{6CBE69AA-1EAC-4424-B2B7-3F6E128CB8BA}" destId="{BD181532-2AC9-4658-A2DD-0F002D433353}" srcOrd="0" destOrd="0" parTransId="{F38D2D14-BB0A-4111-968D-AD271D79AD40}" sibTransId="{29DE9D28-1260-47FE-910D-47692CA2A79C}"/>
    <dgm:cxn modelId="{4EAA98AE-0A2B-465E-99DD-44CA361285A5}" srcId="{A9FC8E42-7B95-42F1-983B-A5AE72E8C5C0}" destId="{9B75E048-2AA5-47D4-B202-E2AF294A9841}" srcOrd="2" destOrd="0" parTransId="{37BEA225-0283-4195-B462-B25B05722CBB}" sibTransId="{98FC8C8A-113E-4040-8FD7-F6E4AEB3E5A7}"/>
    <dgm:cxn modelId="{C4F9A2B9-E71C-41E9-9718-5A794AC07C93}" type="presOf" srcId="{DDF099B8-1FB4-42BC-8CF7-4F0946E8CE06}" destId="{2A87B468-0784-4F3F-9515-BBB3492CC8A0}" srcOrd="0" destOrd="0" presId="urn:diagrams.loki3.com/BracketList"/>
    <dgm:cxn modelId="{486078CD-325D-4FAE-87CD-23F61EE13992}" type="presOf" srcId="{BD181532-2AC9-4658-A2DD-0F002D433353}" destId="{0ECD8488-674C-4C0C-9655-2C89CD3ACFBA}" srcOrd="0" destOrd="0" presId="urn:diagrams.loki3.com/BracketList"/>
    <dgm:cxn modelId="{B11E3ED1-E138-44D0-B09C-4CAFEAD40939}" type="presOf" srcId="{972C802A-DE7C-4CFB-AB82-96FFF3476E4E}" destId="{66F51E0D-D045-4E2B-AB0C-4F2EC15C2742}" srcOrd="0" destOrd="0" presId="urn:diagrams.loki3.com/BracketList"/>
    <dgm:cxn modelId="{9B98BFE4-BAB6-4E81-A2EE-927F2951CA16}" type="presOf" srcId="{6CBE69AA-1EAC-4424-B2B7-3F6E128CB8BA}" destId="{85BD6EBC-B7BD-4283-9195-03758FD188DF}" srcOrd="0" destOrd="0" presId="urn:diagrams.loki3.com/BracketList"/>
    <dgm:cxn modelId="{01B26DEE-2005-4474-9846-D8D5840400BF}" srcId="{D627C789-0051-4A89-95D0-9984E46E197F}" destId="{DA8ECFEB-D442-451D-8936-BBB3F6B74CCF}" srcOrd="0" destOrd="0" parTransId="{EAD9AE3A-A04C-45C7-881F-78EF9496FA8C}" sibTransId="{97E46952-7C1B-4E28-9386-BD36EE33617D}"/>
    <dgm:cxn modelId="{3A8E365D-5756-4630-B01E-7A91BEA75874}" type="presParOf" srcId="{60E112F2-CD0F-460D-921B-374A913F71ED}" destId="{1A038524-604E-4D2F-9D7E-113C69B7C141}" srcOrd="0" destOrd="0" presId="urn:diagrams.loki3.com/BracketList"/>
    <dgm:cxn modelId="{C595A34C-7209-439A-AE7E-8D1280390948}" type="presParOf" srcId="{1A038524-604E-4D2F-9D7E-113C69B7C141}" destId="{66F51E0D-D045-4E2B-AB0C-4F2EC15C2742}" srcOrd="0" destOrd="0" presId="urn:diagrams.loki3.com/BracketList"/>
    <dgm:cxn modelId="{E0F7F42E-0072-4086-B8F9-B4CC8F70214B}" type="presParOf" srcId="{1A038524-604E-4D2F-9D7E-113C69B7C141}" destId="{FC80247D-E118-4105-90BF-F29AB52D411B}" srcOrd="1" destOrd="0" presId="urn:diagrams.loki3.com/BracketList"/>
    <dgm:cxn modelId="{02EF4EA2-5371-4166-B880-C5D74E38E334}" type="presParOf" srcId="{1A038524-604E-4D2F-9D7E-113C69B7C141}" destId="{0FD2FB49-ED8B-4824-AEAF-3A94420311F8}" srcOrd="2" destOrd="0" presId="urn:diagrams.loki3.com/BracketList"/>
    <dgm:cxn modelId="{B759F6BB-AC97-4491-A4B9-41D767AA0164}" type="presParOf" srcId="{1A038524-604E-4D2F-9D7E-113C69B7C141}" destId="{D5929079-7C2E-4F45-A6B9-1B7792F83AEF}" srcOrd="3" destOrd="0" presId="urn:diagrams.loki3.com/BracketList"/>
    <dgm:cxn modelId="{5A8D1FE3-9F41-4826-B8E0-239032C7C6F3}" type="presParOf" srcId="{60E112F2-CD0F-460D-921B-374A913F71ED}" destId="{7DF0E247-63B9-4008-A971-6F49D7F9E081}" srcOrd="1" destOrd="0" presId="urn:diagrams.loki3.com/BracketList"/>
    <dgm:cxn modelId="{DE0DEF25-7665-4B99-A561-D15B598F6F20}" type="presParOf" srcId="{60E112F2-CD0F-460D-921B-374A913F71ED}" destId="{E59D26DB-AF0C-4FA9-84AF-32ED08C4AC0A}" srcOrd="2" destOrd="0" presId="urn:diagrams.loki3.com/BracketList"/>
    <dgm:cxn modelId="{9D5CA7A7-BE62-4BF1-BD5A-6FF4A5FEAA41}" type="presParOf" srcId="{E59D26DB-AF0C-4FA9-84AF-32ED08C4AC0A}" destId="{33D9AD84-C2DD-43AA-B8C0-6E15771BE78B}" srcOrd="0" destOrd="0" presId="urn:diagrams.loki3.com/BracketList"/>
    <dgm:cxn modelId="{17787CA7-B017-494E-BB53-700D63C50656}" type="presParOf" srcId="{E59D26DB-AF0C-4FA9-84AF-32ED08C4AC0A}" destId="{9117B35D-C06B-428F-8A45-50C11E8FFA23}" srcOrd="1" destOrd="0" presId="urn:diagrams.loki3.com/BracketList"/>
    <dgm:cxn modelId="{8CBBCD3C-2DE3-4207-BB81-7FC9DA063D29}" type="presParOf" srcId="{E59D26DB-AF0C-4FA9-84AF-32ED08C4AC0A}" destId="{EA474D2E-5346-44AA-8F49-9AD64CE626D8}" srcOrd="2" destOrd="0" presId="urn:diagrams.loki3.com/BracketList"/>
    <dgm:cxn modelId="{1710C799-3A77-4834-B2AD-4D6014506FB1}" type="presParOf" srcId="{E59D26DB-AF0C-4FA9-84AF-32ED08C4AC0A}" destId="{34E5CFAF-7A5E-4128-8997-A5651A906319}" srcOrd="3" destOrd="0" presId="urn:diagrams.loki3.com/BracketList"/>
    <dgm:cxn modelId="{427590CE-CE6B-46A9-AA9E-C7DEBB6B9E9B}" type="presParOf" srcId="{60E112F2-CD0F-460D-921B-374A913F71ED}" destId="{00C54DFA-A3F8-406C-B094-0E3D2CF0786D}" srcOrd="3" destOrd="0" presId="urn:diagrams.loki3.com/BracketList"/>
    <dgm:cxn modelId="{BB617429-8F67-4CDE-B707-CAA0786539B8}" type="presParOf" srcId="{60E112F2-CD0F-460D-921B-374A913F71ED}" destId="{92973F54-1F5B-4C40-BBAB-9E62B4F56DA9}" srcOrd="4" destOrd="0" presId="urn:diagrams.loki3.com/BracketList"/>
    <dgm:cxn modelId="{A5796789-D02A-4E80-8C83-C22581246B0C}" type="presParOf" srcId="{92973F54-1F5B-4C40-BBAB-9E62B4F56DA9}" destId="{5400C3F5-CC03-4C92-9C64-BD6ED3005EC2}" srcOrd="0" destOrd="0" presId="urn:diagrams.loki3.com/BracketList"/>
    <dgm:cxn modelId="{B8F03860-3B3E-4913-8722-96C8C1904A47}" type="presParOf" srcId="{92973F54-1F5B-4C40-BBAB-9E62B4F56DA9}" destId="{C3AF3EC1-996A-46C1-B710-476892751235}" srcOrd="1" destOrd="0" presId="urn:diagrams.loki3.com/BracketList"/>
    <dgm:cxn modelId="{E9F383A0-2F11-4D9C-AB2B-429BDB60ECFE}" type="presParOf" srcId="{92973F54-1F5B-4C40-BBAB-9E62B4F56DA9}" destId="{7A4A087B-252F-42E5-A266-D59FD817BE35}" srcOrd="2" destOrd="0" presId="urn:diagrams.loki3.com/BracketList"/>
    <dgm:cxn modelId="{308D35CC-F893-4499-A794-49FB7E1183E9}" type="presParOf" srcId="{92973F54-1F5B-4C40-BBAB-9E62B4F56DA9}" destId="{2A87B468-0784-4F3F-9515-BBB3492CC8A0}" srcOrd="3" destOrd="0" presId="urn:diagrams.loki3.com/BracketList"/>
    <dgm:cxn modelId="{41635459-CE36-4F72-96C5-ABDC27D9A9B9}" type="presParOf" srcId="{60E112F2-CD0F-460D-921B-374A913F71ED}" destId="{DB5F5B3A-2AB1-40C7-A339-6D58ABE1BB22}" srcOrd="5" destOrd="0" presId="urn:diagrams.loki3.com/BracketList"/>
    <dgm:cxn modelId="{C07C049C-5638-432D-99D6-97C62D93EC82}" type="presParOf" srcId="{60E112F2-CD0F-460D-921B-374A913F71ED}" destId="{308F86B7-D941-4219-B1EF-1DF0218329AF}" srcOrd="6" destOrd="0" presId="urn:diagrams.loki3.com/BracketList"/>
    <dgm:cxn modelId="{997F52B8-8E26-4A37-87FB-90790FE7CDBA}" type="presParOf" srcId="{308F86B7-D941-4219-B1EF-1DF0218329AF}" destId="{85BD6EBC-B7BD-4283-9195-03758FD188DF}" srcOrd="0" destOrd="0" presId="urn:diagrams.loki3.com/BracketList"/>
    <dgm:cxn modelId="{0ED7FB0F-B6C6-4EE4-BC13-5D3BA4765C7E}" type="presParOf" srcId="{308F86B7-D941-4219-B1EF-1DF0218329AF}" destId="{E0FC9C9B-F53E-4A4C-8BA2-1529EE697C2B}" srcOrd="1" destOrd="0" presId="urn:diagrams.loki3.com/BracketList"/>
    <dgm:cxn modelId="{32B9033C-C781-41FC-A7BA-4F2AE5DDE8DE}" type="presParOf" srcId="{308F86B7-D941-4219-B1EF-1DF0218329AF}" destId="{F34B3F96-6075-42A2-BF96-870BB31D26EF}" srcOrd="2" destOrd="0" presId="urn:diagrams.loki3.com/BracketList"/>
    <dgm:cxn modelId="{34151077-1793-4FD5-B249-CF2A8E6F0BC4}" type="presParOf" srcId="{308F86B7-D941-4219-B1EF-1DF0218329AF}" destId="{0ECD8488-674C-4C0C-9655-2C89CD3ACFBA}" srcOrd="3" destOrd="0" presId="urn:diagrams.loki3.com/BracketList"/>
    <dgm:cxn modelId="{F3E96214-154A-4153-BAEC-17A00CB34372}" type="presParOf" srcId="{60E112F2-CD0F-460D-921B-374A913F71ED}" destId="{6D7C8854-9976-4879-849A-A5B35E279A0D}" srcOrd="7" destOrd="0" presId="urn:diagrams.loki3.com/BracketList"/>
    <dgm:cxn modelId="{3AF7B254-3D95-4589-96A7-C5335C62E189}" type="presParOf" srcId="{60E112F2-CD0F-460D-921B-374A913F71ED}" destId="{24457AD7-6E8B-451C-9C78-107477CEA4C7}" srcOrd="8" destOrd="0" presId="urn:diagrams.loki3.com/BracketList"/>
    <dgm:cxn modelId="{759A6864-B0B6-49F7-B140-D9D88D94FA64}" type="presParOf" srcId="{24457AD7-6E8B-451C-9C78-107477CEA4C7}" destId="{A3CD7AA6-38F4-4A44-AF0C-AA53CC2A4238}" srcOrd="0" destOrd="0" presId="urn:diagrams.loki3.com/BracketList"/>
    <dgm:cxn modelId="{764AA569-BD12-44DE-BDBE-59770B0AA84C}" type="presParOf" srcId="{24457AD7-6E8B-451C-9C78-107477CEA4C7}" destId="{A0BBA243-A395-4F9E-9DD5-840A3D69F33B}" srcOrd="1" destOrd="0" presId="urn:diagrams.loki3.com/BracketList"/>
    <dgm:cxn modelId="{4CC596CB-FD26-4C9E-A874-D49329089DBD}" type="presParOf" srcId="{24457AD7-6E8B-451C-9C78-107477CEA4C7}" destId="{9650CA60-831C-4DAE-AD3E-09277EDC17F8}" srcOrd="2" destOrd="0" presId="urn:diagrams.loki3.com/BracketList"/>
    <dgm:cxn modelId="{9275B2D4-77FC-4EC4-AF28-7FA6206EE1B0}" type="presParOf" srcId="{24457AD7-6E8B-451C-9C78-107477CEA4C7}" destId="{66AAEBA6-B695-4691-8B00-49D1E4CA4B7B}" srcOrd="3" destOrd="0" presId="urn:diagrams.loki3.com/BracketList"/>
    <dgm:cxn modelId="{24893C21-BFC8-4529-964C-C2323FF0C581}" type="presParOf" srcId="{60E112F2-CD0F-460D-921B-374A913F71ED}" destId="{A5ED09AD-6A6C-4925-BEC7-2C2EBCB9A713}" srcOrd="9" destOrd="0" presId="urn:diagrams.loki3.com/BracketList"/>
    <dgm:cxn modelId="{BDBD366A-B01C-4FBB-A86C-9055ACADD677}" type="presParOf" srcId="{60E112F2-CD0F-460D-921B-374A913F71ED}" destId="{79C6ACE2-EAD3-40F1-A40D-7C08DA6A36F9}" srcOrd="10" destOrd="0" presId="urn:diagrams.loki3.com/BracketList"/>
    <dgm:cxn modelId="{92A94B83-6B8C-4A0A-ACA5-DFFCA3571742}" type="presParOf" srcId="{79C6ACE2-EAD3-40F1-A40D-7C08DA6A36F9}" destId="{1165B149-41F8-4D08-BA1A-5857706E9CDE}" srcOrd="0" destOrd="0" presId="urn:diagrams.loki3.com/BracketList"/>
    <dgm:cxn modelId="{CA548C8D-37ED-436A-9D3A-7464652A395C}" type="presParOf" srcId="{79C6ACE2-EAD3-40F1-A40D-7C08DA6A36F9}" destId="{0A6E157B-C627-4B14-8B26-59B96448430A}" srcOrd="1" destOrd="0" presId="urn:diagrams.loki3.com/BracketList"/>
    <dgm:cxn modelId="{B9261802-728D-49FB-9409-D2E4582E6646}" type="presParOf" srcId="{79C6ACE2-EAD3-40F1-A40D-7C08DA6A36F9}" destId="{2D612181-86BE-42DF-B0C0-83C5CE48BEBE}" srcOrd="2" destOrd="0" presId="urn:diagrams.loki3.com/BracketList"/>
    <dgm:cxn modelId="{72CA2853-EAA0-4409-BF36-1DE1F6F38700}" type="presParOf" srcId="{79C6ACE2-EAD3-40F1-A40D-7C08DA6A36F9}" destId="{B846999F-8B22-4EFB-AAE0-C9D0AFC0A833}" srcOrd="3" destOrd="0" presId="urn:diagrams.loki3.com/Bracke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3985AF7C-53D6-44AD-87E4-4EA338F4D7FA}" type="doc">
      <dgm:prSet loTypeId="urn:microsoft.com/office/officeart/2018/5/layout/IconLeafLabel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C2A297BC-DA42-4860-A108-8EE79AEB2CA0}" type="parTrans" cxnId="{F2514163-9A15-4DE0-94C6-AD641E9A269E}">
      <dgm:prSet/>
      <dgm:spPr/>
      <dgm:t>
        <a:bodyPr/>
        <a:lstStyle/>
        <a:p>
          <a:endParaRPr lang="en-US"/>
        </a:p>
      </dgm:t>
    </dgm:pt>
    <dgm:pt modelId="{EBD060C5-95F5-4EE7-A21D-4D675CDEDCC3}">
      <dgm:prSet custT="1"/>
      <dgm:spPr>
        <a:noFill/>
        <a:ln>
          <a:noFill/>
        </a:ln>
      </dgm:spPr>
      <dgm:t>
        <a:bodyPr/>
        <a:lstStyle/>
        <a:p>
          <a:pPr>
            <a:defRPr cap="all"/>
          </a:pPr>
          <a:r>
            <a:rPr lang="it" sz="1110" b="0" i="0" strike="noStrike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Interrompere, affrontare, supportare, ma solo iF appropriato!</a:t>
          </a:r>
          <a:endParaRPr lang="en-US"/>
        </a:p>
      </dgm:t>
    </dgm:pt>
    <dgm:pt modelId="{08F2C995-22F9-446E-8812-A0D5B508C4C6}" type="sibTrans" cxnId="{F2514163-9A15-4DE0-94C6-AD641E9A269E}">
      <dgm:prSet/>
      <dgm:spPr/>
      <dgm:t>
        <a:bodyPr/>
        <a:lstStyle/>
        <a:p>
          <a:endParaRPr lang="en-US"/>
        </a:p>
      </dgm:t>
    </dgm:pt>
    <dgm:pt modelId="{C06B86FE-9873-4154-8479-7797CFC38831}" type="parTrans" cxnId="{177F9997-47E8-4F8C-8A96-D5E8123EF157}">
      <dgm:prSet/>
      <dgm:spPr/>
      <dgm:t>
        <a:bodyPr/>
        <a:lstStyle/>
        <a:p>
          <a:endParaRPr lang="en-US"/>
        </a:p>
      </dgm:t>
    </dgm:pt>
    <dgm:pt modelId="{215514A5-DF66-4904-9406-77784F162B95}">
      <dgm:prSet custT="1"/>
      <dgm:spPr>
        <a:noFill/>
        <a:ln>
          <a:noFill/>
        </a:ln>
      </dgm:spPr>
      <dgm:t>
        <a:bodyPr/>
        <a:lstStyle/>
        <a:p>
          <a:pPr>
            <a:defRPr cap="all"/>
          </a:pPr>
          <a:r>
            <a:rPr lang="it" sz="1110" b="0" i="0" strike="noStrike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Vogliamo sapere se pensi che il comportamento di qualcuno sia inappropriato o illegale. </a:t>
          </a:r>
          <a:endParaRPr lang="en-US"/>
        </a:p>
      </dgm:t>
    </dgm:pt>
    <dgm:pt modelId="{B250ECC4-DD4B-44B9-9935-6E9734B98612}" type="sibTrans" cxnId="{177F9997-47E8-4F8C-8A96-D5E8123EF157}">
      <dgm:prSet/>
      <dgm:spPr/>
      <dgm:t>
        <a:bodyPr/>
        <a:lstStyle/>
        <a:p>
          <a:endParaRPr lang="en-US"/>
        </a:p>
      </dgm:t>
    </dgm:pt>
    <dgm:pt modelId="{56605AA0-B23C-41CB-A9E9-FB42C77D3F9B}" type="parTrans" cxnId="{10C00449-6C05-4834-A99B-0C39579A7A72}">
      <dgm:prSet/>
      <dgm:spPr/>
      <dgm:t>
        <a:bodyPr/>
        <a:lstStyle/>
        <a:p>
          <a:endParaRPr lang="en-US"/>
        </a:p>
      </dgm:t>
    </dgm:pt>
    <dgm:pt modelId="{22C75CE3-3B87-4E45-A239-769E3391166C}">
      <dgm:prSet custT="1"/>
      <dgm:spPr>
        <a:noFill/>
        <a:ln>
          <a:noFill/>
        </a:ln>
      </dgm:spPr>
      <dgm:t>
        <a:bodyPr/>
        <a:lstStyle/>
        <a:p>
          <a:pPr>
            <a:defRPr cap="all"/>
          </a:pPr>
          <a:r>
            <a:rPr lang="it" sz="1110" b="0" i="0" strike="noStrike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utti i reclami saranno presi seriamente, indagati e gestiti, se appropriato. </a:t>
          </a:r>
          <a:endParaRPr lang="en-US"/>
        </a:p>
      </dgm:t>
    </dgm:pt>
    <dgm:pt modelId="{873C7F80-16FF-4C2A-9AB6-7A5889C0339F}" type="sibTrans" cxnId="{10C00449-6C05-4834-A99B-0C39579A7A72}">
      <dgm:prSet/>
      <dgm:spPr/>
      <dgm:t>
        <a:bodyPr/>
        <a:lstStyle/>
        <a:p>
          <a:endParaRPr lang="en-US"/>
        </a:p>
      </dgm:t>
    </dgm:pt>
    <dgm:pt modelId="{F47EF451-94B4-4BD6-A5AE-ADAECA63667A}" type="parTrans" cxnId="{F222DBED-76D8-416D-9E41-31868C595861}">
      <dgm:prSet/>
      <dgm:spPr/>
      <dgm:t>
        <a:bodyPr/>
        <a:lstStyle/>
        <a:p>
          <a:endParaRPr lang="en-US"/>
        </a:p>
      </dgm:t>
    </dgm:pt>
    <dgm:pt modelId="{544412E3-BEF3-41AF-9D5A-7DA5FBAE64B4}">
      <dgm:prSet custT="1"/>
      <dgm:spPr>
        <a:noFill/>
        <a:ln>
          <a:noFill/>
        </a:ln>
      </dgm:spPr>
      <dgm:t>
        <a:bodyPr/>
        <a:lstStyle/>
        <a:p>
          <a:pPr>
            <a:defRPr cap="all"/>
          </a:pPr>
          <a:r>
            <a:rPr lang="it" sz="1110" b="0" i="0" strike="noStrike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tattare il proprio responsabile, l’ora locale, il team di conformità rpm o la hotline</a:t>
          </a:r>
          <a:endParaRPr lang="en-US"/>
        </a:p>
      </dgm:t>
    </dgm:pt>
    <dgm:pt modelId="{32D20FFA-0D8A-4FAF-9CB1-AE232A3FCBE7}" type="sibTrans" cxnId="{F222DBED-76D8-416D-9E41-31868C595861}">
      <dgm:prSet/>
      <dgm:spPr/>
      <dgm:t>
        <a:bodyPr/>
        <a:lstStyle/>
        <a:p>
          <a:endParaRPr lang="en-US"/>
        </a:p>
      </dgm:t>
    </dgm:pt>
    <dgm:pt modelId="{F99DBA00-032E-4B6D-BCA8-3FF88387C013}" type="pres">
      <dgm:prSet presAssocID="{3985AF7C-53D6-44AD-87E4-4EA338F4D7FA}" presName="root" presStyleCnt="0">
        <dgm:presLayoutVars>
          <dgm:dir/>
          <dgm:resizeHandles val="exact"/>
        </dgm:presLayoutVars>
      </dgm:prSet>
      <dgm:spPr/>
    </dgm:pt>
    <dgm:pt modelId="{786B84CB-C00B-40AB-8D9F-DE78A427A091}" type="pres">
      <dgm:prSet presAssocID="{EBD060C5-95F5-4EE7-A21D-4D675CDEDCC3}" presName="compNode" presStyleCnt="0"/>
      <dgm:spPr/>
    </dgm:pt>
    <dgm:pt modelId="{073D0F38-1697-4DDF-87B5-31AB4FDDCA6E}" type="pres">
      <dgm:prSet presAssocID="{EBD060C5-95F5-4EE7-A21D-4D675CDEDCC3}" presName="iconBgRect" presStyleLbl="bgShp" presStyleIdx="0" presStyleCnt="4"/>
      <dgm:spPr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972CB9A9-E8F4-48A6-863C-3857BF4A1898}" type="pres">
      <dgm:prSet presAssocID="{EBD060C5-95F5-4EE7-A21D-4D675CDEDCC3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No sign"/>
        </a:ext>
      </dgm:extLst>
    </dgm:pt>
    <dgm:pt modelId="{0F2B5B2A-8E93-4FB1-A7B8-4DBAF9E36D1F}" type="pres">
      <dgm:prSet presAssocID="{EBD060C5-95F5-4EE7-A21D-4D675CDEDCC3}" presName="spaceRect" presStyleCnt="0"/>
      <dgm:spPr/>
    </dgm:pt>
    <dgm:pt modelId="{6AA18965-2D4D-4724-835A-2A765ACE07BF}" type="pres">
      <dgm:prSet presAssocID="{EBD060C5-95F5-4EE7-A21D-4D675CDEDCC3}" presName="textRect" presStyleLbl="revTx" presStyleIdx="0" presStyleCnt="4">
        <dgm:presLayoutVars>
          <dgm:chMax val="1"/>
          <dgm:chPref val="1"/>
        </dgm:presLayoutVars>
      </dgm:prSet>
      <dgm:spPr/>
    </dgm:pt>
    <dgm:pt modelId="{8760EC41-2AED-4DF9-BBCD-2EB65F816AD5}" type="pres">
      <dgm:prSet presAssocID="{08F2C995-22F9-446E-8812-A0D5B508C4C6}" presName="sibTrans" presStyleCnt="0"/>
      <dgm:spPr/>
    </dgm:pt>
    <dgm:pt modelId="{3622DCD7-14D2-4476-A1D7-9FC0F2DF9AEC}" type="pres">
      <dgm:prSet presAssocID="{215514A5-DF66-4904-9406-77784F162B95}" presName="compNode" presStyleCnt="0"/>
      <dgm:spPr/>
    </dgm:pt>
    <dgm:pt modelId="{71CADC7A-C1B0-44C3-93BB-21CE4C51B4F2}" type="pres">
      <dgm:prSet presAssocID="{215514A5-DF66-4904-9406-77784F162B95}" presName="iconBgRect" presStyleLbl="bgShp" presStyleIdx="1" presStyleCnt="4"/>
      <dgm:spPr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CE7A4B8A-9FB1-49BB-AD5F-E16F4D6B1202}" type="pres">
      <dgm:prSet presAssocID="{215514A5-DF66-4904-9406-77784F162B95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Irritant"/>
        </a:ext>
      </dgm:extLst>
    </dgm:pt>
    <dgm:pt modelId="{77223BB5-08AB-4699-B274-66F6273C5AEC}" type="pres">
      <dgm:prSet presAssocID="{215514A5-DF66-4904-9406-77784F162B95}" presName="spaceRect" presStyleCnt="0"/>
      <dgm:spPr/>
    </dgm:pt>
    <dgm:pt modelId="{6FF8B6D1-5618-4F35-9FB1-447D4C8D3EB4}" type="pres">
      <dgm:prSet presAssocID="{215514A5-DF66-4904-9406-77784F162B95}" presName="textRect" presStyleLbl="revTx" presStyleIdx="1" presStyleCnt="4">
        <dgm:presLayoutVars>
          <dgm:chMax val="1"/>
          <dgm:chPref val="1"/>
        </dgm:presLayoutVars>
      </dgm:prSet>
      <dgm:spPr/>
    </dgm:pt>
    <dgm:pt modelId="{EAB3F13C-5F23-491D-9F8A-D25748D3216F}" type="pres">
      <dgm:prSet presAssocID="{B250ECC4-DD4B-44B9-9935-6E9734B98612}" presName="sibTrans" presStyleCnt="0"/>
      <dgm:spPr/>
    </dgm:pt>
    <dgm:pt modelId="{0F7AB7E7-3384-4E1C-A41F-020CE1D72EA1}" type="pres">
      <dgm:prSet presAssocID="{22C75CE3-3B87-4E45-A239-769E3391166C}" presName="compNode" presStyleCnt="0"/>
      <dgm:spPr/>
    </dgm:pt>
    <dgm:pt modelId="{1FE7E204-545F-440C-8C97-4A51872D9726}" type="pres">
      <dgm:prSet presAssocID="{22C75CE3-3B87-4E45-A239-769E3391166C}" presName="iconBgRect" presStyleLbl="bgShp" presStyleIdx="2" presStyleCnt="4"/>
      <dgm:spPr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85FF4209-844A-4978-977D-D9B2596F75E9}" type="pres">
      <dgm:prSet presAssocID="{22C75CE3-3B87-4E45-A239-769E3391166C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Judge"/>
        </a:ext>
      </dgm:extLst>
    </dgm:pt>
    <dgm:pt modelId="{19232F93-B28C-4008-9D2C-5CC2B171F6BF}" type="pres">
      <dgm:prSet presAssocID="{22C75CE3-3B87-4E45-A239-769E3391166C}" presName="spaceRect" presStyleCnt="0"/>
      <dgm:spPr/>
    </dgm:pt>
    <dgm:pt modelId="{30BC5A38-EAF4-4B1E-9660-0ECB3613D90C}" type="pres">
      <dgm:prSet presAssocID="{22C75CE3-3B87-4E45-A239-769E3391166C}" presName="textRect" presStyleLbl="revTx" presStyleIdx="2" presStyleCnt="4">
        <dgm:presLayoutVars>
          <dgm:chMax val="1"/>
          <dgm:chPref val="1"/>
        </dgm:presLayoutVars>
      </dgm:prSet>
      <dgm:spPr/>
    </dgm:pt>
    <dgm:pt modelId="{E20E414B-C7F7-4B94-A0E0-F90A48E33FBB}" type="pres">
      <dgm:prSet presAssocID="{873C7F80-16FF-4C2A-9AB6-7A5889C0339F}" presName="sibTrans" presStyleCnt="0"/>
      <dgm:spPr/>
    </dgm:pt>
    <dgm:pt modelId="{4B26835B-4D7D-49AA-8750-6FD0C36A7C28}" type="pres">
      <dgm:prSet presAssocID="{544412E3-BEF3-41AF-9D5A-7DA5FBAE64B4}" presName="compNode" presStyleCnt="0"/>
      <dgm:spPr/>
    </dgm:pt>
    <dgm:pt modelId="{10143779-9C38-42BF-84D1-1850484485B4}" type="pres">
      <dgm:prSet presAssocID="{544412E3-BEF3-41AF-9D5A-7DA5FBAE64B4}" presName="iconBgRect" presStyleLbl="bgShp" presStyleIdx="3" presStyleCnt="4"/>
      <dgm:spPr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537D5008-931D-4678-B3D6-809AC5E131FA}" type="pres">
      <dgm:prSet presAssocID="{544412E3-BEF3-41AF-9D5A-7DA5FBAE64B4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 Network"/>
        </a:ext>
      </dgm:extLst>
    </dgm:pt>
    <dgm:pt modelId="{3D256092-D4EE-4D98-9242-1FDD6ED656DA}" type="pres">
      <dgm:prSet presAssocID="{544412E3-BEF3-41AF-9D5A-7DA5FBAE64B4}" presName="spaceRect" presStyleCnt="0"/>
      <dgm:spPr/>
    </dgm:pt>
    <dgm:pt modelId="{6CB0CDB9-D0AE-470D-ABFC-DED3FE7A9B30}" type="pres">
      <dgm:prSet presAssocID="{544412E3-BEF3-41AF-9D5A-7DA5FBAE64B4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224EBE00-22C1-47EE-8868-11F3638D2595}" type="presOf" srcId="{EBD060C5-95F5-4EE7-A21D-4D675CDEDCC3}" destId="{6AA18965-2D4D-4724-835A-2A765ACE07BF}" srcOrd="0" destOrd="0" presId="urn:microsoft.com/office/officeart/2018/5/layout/IconLeafLabelList"/>
    <dgm:cxn modelId="{3F459207-EBE1-4F95-A07B-83C1A67D443F}" type="presOf" srcId="{215514A5-DF66-4904-9406-77784F162B95}" destId="{6FF8B6D1-5618-4F35-9FB1-447D4C8D3EB4}" srcOrd="0" destOrd="0" presId="urn:microsoft.com/office/officeart/2018/5/layout/IconLeafLabelList"/>
    <dgm:cxn modelId="{9E945031-C687-4ECF-8EE7-A879DC62857C}" type="presOf" srcId="{544412E3-BEF3-41AF-9D5A-7DA5FBAE64B4}" destId="{6CB0CDB9-D0AE-470D-ABFC-DED3FE7A9B30}" srcOrd="0" destOrd="0" presId="urn:microsoft.com/office/officeart/2018/5/layout/IconLeafLabelList"/>
    <dgm:cxn modelId="{F2514163-9A15-4DE0-94C6-AD641E9A269E}" srcId="{3985AF7C-53D6-44AD-87E4-4EA338F4D7FA}" destId="{EBD060C5-95F5-4EE7-A21D-4D675CDEDCC3}" srcOrd="0" destOrd="0" parTransId="{C2A297BC-DA42-4860-A108-8EE79AEB2CA0}" sibTransId="{08F2C995-22F9-446E-8812-A0D5B508C4C6}"/>
    <dgm:cxn modelId="{10C00449-6C05-4834-A99B-0C39579A7A72}" srcId="{3985AF7C-53D6-44AD-87E4-4EA338F4D7FA}" destId="{22C75CE3-3B87-4E45-A239-769E3391166C}" srcOrd="2" destOrd="0" parTransId="{56605AA0-B23C-41CB-A9E9-FB42C77D3F9B}" sibTransId="{873C7F80-16FF-4C2A-9AB6-7A5889C0339F}"/>
    <dgm:cxn modelId="{0EC10C4A-C182-4BF4-A0D2-CF380974F406}" type="presOf" srcId="{3985AF7C-53D6-44AD-87E4-4EA338F4D7FA}" destId="{F99DBA00-032E-4B6D-BCA8-3FF88387C013}" srcOrd="0" destOrd="0" presId="urn:microsoft.com/office/officeart/2018/5/layout/IconLeafLabelList"/>
    <dgm:cxn modelId="{177F9997-47E8-4F8C-8A96-D5E8123EF157}" srcId="{3985AF7C-53D6-44AD-87E4-4EA338F4D7FA}" destId="{215514A5-DF66-4904-9406-77784F162B95}" srcOrd="1" destOrd="0" parTransId="{C06B86FE-9873-4154-8479-7797CFC38831}" sibTransId="{B250ECC4-DD4B-44B9-9935-6E9734B98612}"/>
    <dgm:cxn modelId="{719D5AD2-414A-4C68-A3AD-4979D0515973}" type="presOf" srcId="{22C75CE3-3B87-4E45-A239-769E3391166C}" destId="{30BC5A38-EAF4-4B1E-9660-0ECB3613D90C}" srcOrd="0" destOrd="0" presId="urn:microsoft.com/office/officeart/2018/5/layout/IconLeafLabelList"/>
    <dgm:cxn modelId="{F222DBED-76D8-416D-9E41-31868C595861}" srcId="{3985AF7C-53D6-44AD-87E4-4EA338F4D7FA}" destId="{544412E3-BEF3-41AF-9D5A-7DA5FBAE64B4}" srcOrd="3" destOrd="0" parTransId="{F47EF451-94B4-4BD6-A5AE-ADAECA63667A}" sibTransId="{32D20FFA-0D8A-4FAF-9CB1-AE232A3FCBE7}"/>
    <dgm:cxn modelId="{91445A2C-195D-461A-83FF-BBE50BF38B94}" type="presParOf" srcId="{F99DBA00-032E-4B6D-BCA8-3FF88387C013}" destId="{786B84CB-C00B-40AB-8D9F-DE78A427A091}" srcOrd="0" destOrd="0" presId="urn:microsoft.com/office/officeart/2018/5/layout/IconLeafLabelList"/>
    <dgm:cxn modelId="{170DB8CF-C4F3-4115-B015-5676F0F70D69}" type="presParOf" srcId="{786B84CB-C00B-40AB-8D9F-DE78A427A091}" destId="{073D0F38-1697-4DDF-87B5-31AB4FDDCA6E}" srcOrd="0" destOrd="0" presId="urn:microsoft.com/office/officeart/2018/5/layout/IconLeafLabelList"/>
    <dgm:cxn modelId="{41C55E12-C560-42C4-8CB5-067C8AD00253}" type="presParOf" srcId="{786B84CB-C00B-40AB-8D9F-DE78A427A091}" destId="{972CB9A9-E8F4-48A6-863C-3857BF4A1898}" srcOrd="1" destOrd="0" presId="urn:microsoft.com/office/officeart/2018/5/layout/IconLeafLabelList"/>
    <dgm:cxn modelId="{0EC68D10-982A-49EC-9ED0-7C846C6871D1}" type="presParOf" srcId="{786B84CB-C00B-40AB-8D9F-DE78A427A091}" destId="{0F2B5B2A-8E93-4FB1-A7B8-4DBAF9E36D1F}" srcOrd="2" destOrd="0" presId="urn:microsoft.com/office/officeart/2018/5/layout/IconLeafLabelList"/>
    <dgm:cxn modelId="{14C716F4-4552-4436-BC39-05B18B56284C}" type="presParOf" srcId="{786B84CB-C00B-40AB-8D9F-DE78A427A091}" destId="{6AA18965-2D4D-4724-835A-2A765ACE07BF}" srcOrd="3" destOrd="0" presId="urn:microsoft.com/office/officeart/2018/5/layout/IconLeafLabelList"/>
    <dgm:cxn modelId="{0B1D0DBC-84DA-4C4B-A488-0CB38CB56F68}" type="presParOf" srcId="{F99DBA00-032E-4B6D-BCA8-3FF88387C013}" destId="{8760EC41-2AED-4DF9-BBCD-2EB65F816AD5}" srcOrd="1" destOrd="0" presId="urn:microsoft.com/office/officeart/2018/5/layout/IconLeafLabelList"/>
    <dgm:cxn modelId="{2C9354B9-0466-4DDE-A793-6E2922EA9BC8}" type="presParOf" srcId="{F99DBA00-032E-4B6D-BCA8-3FF88387C013}" destId="{3622DCD7-14D2-4476-A1D7-9FC0F2DF9AEC}" srcOrd="2" destOrd="0" presId="urn:microsoft.com/office/officeart/2018/5/layout/IconLeafLabelList"/>
    <dgm:cxn modelId="{E2747AE1-A20A-4CF4-BF6B-C17C053FCD3D}" type="presParOf" srcId="{3622DCD7-14D2-4476-A1D7-9FC0F2DF9AEC}" destId="{71CADC7A-C1B0-44C3-93BB-21CE4C51B4F2}" srcOrd="0" destOrd="0" presId="urn:microsoft.com/office/officeart/2018/5/layout/IconLeafLabelList"/>
    <dgm:cxn modelId="{D13BAAF2-9155-44EB-93E9-E6D4C530793B}" type="presParOf" srcId="{3622DCD7-14D2-4476-A1D7-9FC0F2DF9AEC}" destId="{CE7A4B8A-9FB1-49BB-AD5F-E16F4D6B1202}" srcOrd="1" destOrd="0" presId="urn:microsoft.com/office/officeart/2018/5/layout/IconLeafLabelList"/>
    <dgm:cxn modelId="{8CAA2657-4CA8-4FED-9814-CD7D0CD24966}" type="presParOf" srcId="{3622DCD7-14D2-4476-A1D7-9FC0F2DF9AEC}" destId="{77223BB5-08AB-4699-B274-66F6273C5AEC}" srcOrd="2" destOrd="0" presId="urn:microsoft.com/office/officeart/2018/5/layout/IconLeafLabelList"/>
    <dgm:cxn modelId="{A3F1B666-6CD0-421B-9E90-3DB24087B3FE}" type="presParOf" srcId="{3622DCD7-14D2-4476-A1D7-9FC0F2DF9AEC}" destId="{6FF8B6D1-5618-4F35-9FB1-447D4C8D3EB4}" srcOrd="3" destOrd="0" presId="urn:microsoft.com/office/officeart/2018/5/layout/IconLeafLabelList"/>
    <dgm:cxn modelId="{92362738-F064-4EF8-A262-2D0777DEB6CC}" type="presParOf" srcId="{F99DBA00-032E-4B6D-BCA8-3FF88387C013}" destId="{EAB3F13C-5F23-491D-9F8A-D25748D3216F}" srcOrd="3" destOrd="0" presId="urn:microsoft.com/office/officeart/2018/5/layout/IconLeafLabelList"/>
    <dgm:cxn modelId="{68BD7955-86AF-42AC-A7CE-3CC6C33D6595}" type="presParOf" srcId="{F99DBA00-032E-4B6D-BCA8-3FF88387C013}" destId="{0F7AB7E7-3384-4E1C-A41F-020CE1D72EA1}" srcOrd="4" destOrd="0" presId="urn:microsoft.com/office/officeart/2018/5/layout/IconLeafLabelList"/>
    <dgm:cxn modelId="{C1043114-6C91-4A5A-8485-1353C37F24B3}" type="presParOf" srcId="{0F7AB7E7-3384-4E1C-A41F-020CE1D72EA1}" destId="{1FE7E204-545F-440C-8C97-4A51872D9726}" srcOrd="0" destOrd="0" presId="urn:microsoft.com/office/officeart/2018/5/layout/IconLeafLabelList"/>
    <dgm:cxn modelId="{1F35D6CE-AD00-4A77-9D93-1A1C8B81E6E6}" type="presParOf" srcId="{0F7AB7E7-3384-4E1C-A41F-020CE1D72EA1}" destId="{85FF4209-844A-4978-977D-D9B2596F75E9}" srcOrd="1" destOrd="0" presId="urn:microsoft.com/office/officeart/2018/5/layout/IconLeafLabelList"/>
    <dgm:cxn modelId="{CE327074-6A01-46E6-B934-104AC3B7DA0B}" type="presParOf" srcId="{0F7AB7E7-3384-4E1C-A41F-020CE1D72EA1}" destId="{19232F93-B28C-4008-9D2C-5CC2B171F6BF}" srcOrd="2" destOrd="0" presId="urn:microsoft.com/office/officeart/2018/5/layout/IconLeafLabelList"/>
    <dgm:cxn modelId="{E11D68EA-6533-40D0-AB67-E6DF48400126}" type="presParOf" srcId="{0F7AB7E7-3384-4E1C-A41F-020CE1D72EA1}" destId="{30BC5A38-EAF4-4B1E-9660-0ECB3613D90C}" srcOrd="3" destOrd="0" presId="urn:microsoft.com/office/officeart/2018/5/layout/IconLeafLabelList"/>
    <dgm:cxn modelId="{414D4667-CE59-41F2-8376-69D57CF68BFE}" type="presParOf" srcId="{F99DBA00-032E-4B6D-BCA8-3FF88387C013}" destId="{E20E414B-C7F7-4B94-A0E0-F90A48E33FBB}" srcOrd="5" destOrd="0" presId="urn:microsoft.com/office/officeart/2018/5/layout/IconLeafLabelList"/>
    <dgm:cxn modelId="{2BA94DD7-6F10-4CA9-9B87-5F47D55AE584}" type="presParOf" srcId="{F99DBA00-032E-4B6D-BCA8-3FF88387C013}" destId="{4B26835B-4D7D-49AA-8750-6FD0C36A7C28}" srcOrd="6" destOrd="0" presId="urn:microsoft.com/office/officeart/2018/5/layout/IconLeafLabelList"/>
    <dgm:cxn modelId="{EA895131-5898-469A-A3A7-BD564FA5DD41}" type="presParOf" srcId="{4B26835B-4D7D-49AA-8750-6FD0C36A7C28}" destId="{10143779-9C38-42BF-84D1-1850484485B4}" srcOrd="0" destOrd="0" presId="urn:microsoft.com/office/officeart/2018/5/layout/IconLeafLabelList"/>
    <dgm:cxn modelId="{E3139F00-2D73-4BCA-A84F-34524CFDF16E}" type="presParOf" srcId="{4B26835B-4D7D-49AA-8750-6FD0C36A7C28}" destId="{537D5008-931D-4678-B3D6-809AC5E131FA}" srcOrd="1" destOrd="0" presId="urn:microsoft.com/office/officeart/2018/5/layout/IconLeafLabelList"/>
    <dgm:cxn modelId="{F0966E97-6792-4914-9F80-572D3291793B}" type="presParOf" srcId="{4B26835B-4D7D-49AA-8750-6FD0C36A7C28}" destId="{3D256092-D4EE-4D98-9242-1FDD6ED656DA}" srcOrd="2" destOrd="0" presId="urn:microsoft.com/office/officeart/2018/5/layout/IconLeafLabelList"/>
    <dgm:cxn modelId="{EF415FDB-4CAE-4E89-9828-82E4E0DD9481}" type="presParOf" srcId="{4B26835B-4D7D-49AA-8750-6FD0C36A7C28}" destId="{6CB0CDB9-D0AE-470D-ABFC-DED3FE7A9B30}" srcOrd="3" destOrd="0" presId="urn:microsoft.com/office/officeart/2018/5/layout/IconLeaf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847EA9A9-2A7E-4FE6-BE29-8DF151ECBC7E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397E0D1-58FC-466E-A76A-0F9A90D32313}" type="parTrans" cxnId="{6DA1A32B-4310-428E-A8D9-1F73C1B6E058}">
      <dgm:prSet/>
      <dgm:spPr/>
      <dgm:t>
        <a:bodyPr/>
        <a:lstStyle/>
        <a:p>
          <a:endParaRPr lang="en-US"/>
        </a:p>
      </dgm:t>
    </dgm:pt>
    <dgm:pt modelId="{79707194-1D02-4749-851A-78251A8D6A8E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it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Ritiro</a:t>
          </a:r>
          <a:endParaRPr lang="en-US"/>
        </a:p>
      </dgm:t>
    </dgm:pt>
    <dgm:pt modelId="{CE8F1689-E460-49B6-A0B4-2F42C7441D1E}" type="sibTrans" cxnId="{6DA1A32B-4310-428E-A8D9-1F73C1B6E058}">
      <dgm:prSet/>
      <dgm:spPr/>
      <dgm:t>
        <a:bodyPr/>
        <a:lstStyle/>
        <a:p>
          <a:endParaRPr lang="en-US"/>
        </a:p>
      </dgm:t>
    </dgm:pt>
    <dgm:pt modelId="{AC4E4FE5-E6E9-4735-AABB-0C6819A38BD3}" type="parTrans" cxnId="{38F627CC-9C4C-4FAD-9A62-0690139D8B49}">
      <dgm:prSet/>
      <dgm:spPr/>
      <dgm:t>
        <a:bodyPr/>
        <a:lstStyle/>
        <a:p>
          <a:endParaRPr lang="en-US"/>
        </a:p>
      </dgm:t>
    </dgm:pt>
    <dgm:pt modelId="{75B6AE6A-9B0F-4ADC-B232-83EB04025669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it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Retrocessione</a:t>
          </a:r>
          <a:endParaRPr lang="en-US"/>
        </a:p>
      </dgm:t>
    </dgm:pt>
    <dgm:pt modelId="{55B0ED60-47A9-4C9D-BED3-2A9BE70A9BE5}" type="sibTrans" cxnId="{38F627CC-9C4C-4FAD-9A62-0690139D8B49}">
      <dgm:prSet/>
      <dgm:spPr/>
      <dgm:t>
        <a:bodyPr/>
        <a:lstStyle/>
        <a:p>
          <a:endParaRPr lang="en-US"/>
        </a:p>
      </dgm:t>
    </dgm:pt>
    <dgm:pt modelId="{4F78A490-1C23-4BBF-8016-997EFAAE478F}" type="parTrans" cxnId="{09D1CAC9-7D18-443C-AB96-4A599AA4EE14}">
      <dgm:prSet/>
      <dgm:spPr/>
      <dgm:t>
        <a:bodyPr/>
        <a:lstStyle/>
        <a:p>
          <a:endParaRPr lang="en-US"/>
        </a:p>
      </dgm:t>
    </dgm:pt>
    <dgm:pt modelId="{0C3E5329-EB5E-4889-9701-0849A8CD9D82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it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rasferimento</a:t>
          </a:r>
          <a:endParaRPr lang="en-US"/>
        </a:p>
      </dgm:t>
    </dgm:pt>
    <dgm:pt modelId="{1E1AEB77-E215-409E-B983-A154334C1190}" type="sibTrans" cxnId="{09D1CAC9-7D18-443C-AB96-4A599AA4EE14}">
      <dgm:prSet/>
      <dgm:spPr/>
      <dgm:t>
        <a:bodyPr/>
        <a:lstStyle/>
        <a:p>
          <a:endParaRPr lang="en-US"/>
        </a:p>
      </dgm:t>
    </dgm:pt>
    <dgm:pt modelId="{ADCB2420-3E8D-4D10-815F-BFB534DBDEEC}" type="parTrans" cxnId="{F27F425C-DE3B-414A-AE19-F5E8B1E5CDC8}">
      <dgm:prSet/>
      <dgm:spPr/>
      <dgm:t>
        <a:bodyPr/>
        <a:lstStyle/>
        <a:p>
          <a:endParaRPr lang="en-US"/>
        </a:p>
      </dgm:t>
    </dgm:pt>
    <dgm:pt modelId="{49DA00EC-20E3-4959-92DB-5FE0DB4E1078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it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Incarichi o orari di lavoro meno favorevoli</a:t>
          </a:r>
          <a:endParaRPr lang="en-US"/>
        </a:p>
      </dgm:t>
    </dgm:pt>
    <dgm:pt modelId="{1407D1F4-DC74-4D0C-B033-11CE032EE418}" type="sibTrans" cxnId="{F27F425C-DE3B-414A-AE19-F5E8B1E5CDC8}">
      <dgm:prSet/>
      <dgm:spPr/>
      <dgm:t>
        <a:bodyPr/>
        <a:lstStyle/>
        <a:p>
          <a:endParaRPr lang="en-US"/>
        </a:p>
      </dgm:t>
    </dgm:pt>
    <dgm:pt modelId="{5ADD28B4-A80F-4093-AC94-16D6D563B90B}" type="parTrans" cxnId="{7D2C2A8C-D8C1-4014-80BA-AE4C8A7A5B35}">
      <dgm:prSet/>
      <dgm:spPr/>
      <dgm:t>
        <a:bodyPr/>
        <a:lstStyle/>
        <a:p>
          <a:endParaRPr lang="en-US"/>
        </a:p>
      </dgm:t>
    </dgm:pt>
    <dgm:pt modelId="{1EB4BC62-DA52-4EFC-9CA8-418C08D2348D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it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erdita di file del personale per screditare o screditare una vittima o un testimone di discriminazione</a:t>
          </a:r>
          <a:endParaRPr lang="en-US"/>
        </a:p>
      </dgm:t>
    </dgm:pt>
    <dgm:pt modelId="{C9EFA232-B22D-4D18-BF81-0244D2085864}" type="sibTrans" cxnId="{7D2C2A8C-D8C1-4014-80BA-AE4C8A7A5B35}">
      <dgm:prSet/>
      <dgm:spPr/>
      <dgm:t>
        <a:bodyPr/>
        <a:lstStyle/>
        <a:p>
          <a:endParaRPr lang="en-US"/>
        </a:p>
      </dgm:t>
    </dgm:pt>
    <dgm:pt modelId="{2BC36E68-80C0-47FE-9E60-1D6E80AC1868}" type="parTrans" cxnId="{A70F440A-3896-4E7E-9CDC-FB50E483E696}">
      <dgm:prSet/>
      <dgm:spPr/>
      <dgm:t>
        <a:bodyPr/>
        <a:lstStyle/>
        <a:p>
          <a:endParaRPr lang="en-US"/>
        </a:p>
      </dgm:t>
    </dgm:pt>
    <dgm:pt modelId="{231A5E3E-BEAC-4643-AEC0-494E55F94A3B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it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Essere scoraggiati o ostracizzati dai colleghi</a:t>
          </a:r>
          <a:endParaRPr lang="en-US"/>
        </a:p>
      </dgm:t>
    </dgm:pt>
    <dgm:pt modelId="{8F061D4F-67C0-462D-98B5-6197DF537B08}" type="sibTrans" cxnId="{A70F440A-3896-4E7E-9CDC-FB50E483E696}">
      <dgm:prSet/>
      <dgm:spPr/>
      <dgm:t>
        <a:bodyPr/>
        <a:lstStyle/>
        <a:p>
          <a:endParaRPr lang="en-US"/>
        </a:p>
      </dgm:t>
    </dgm:pt>
    <dgm:pt modelId="{8CE7926D-684E-4318-8AD1-74B82DCD2295}" type="parTrans" cxnId="{8EB8F7AE-115F-4B2C-A445-6CE16DDC1212}">
      <dgm:prSet/>
      <dgm:spPr/>
      <dgm:t>
        <a:bodyPr/>
        <a:lstStyle/>
        <a:p>
          <a:endParaRPr lang="en-US"/>
        </a:p>
      </dgm:t>
    </dgm:pt>
    <dgm:pt modelId="{66759DA8-7923-4702-8294-94150FFE7905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it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Essere sabotati dai colleghi</a:t>
          </a:r>
          <a:endParaRPr lang="en-US"/>
        </a:p>
      </dgm:t>
    </dgm:pt>
    <dgm:pt modelId="{94499F2B-AD42-41F6-B221-73712FCD1BC6}" type="sibTrans" cxnId="{8EB8F7AE-115F-4B2C-A445-6CE16DDC1212}">
      <dgm:prSet/>
      <dgm:spPr/>
      <dgm:t>
        <a:bodyPr/>
        <a:lstStyle/>
        <a:p>
          <a:endParaRPr lang="en-US"/>
        </a:p>
      </dgm:t>
    </dgm:pt>
    <dgm:pt modelId="{41503E0F-AB6D-4568-9453-ABA59B82A4CC}" type="pres">
      <dgm:prSet presAssocID="{847EA9A9-2A7E-4FE6-BE29-8DF151ECBC7E}" presName="root" presStyleCnt="0">
        <dgm:presLayoutVars>
          <dgm:dir/>
          <dgm:resizeHandles val="exact"/>
        </dgm:presLayoutVars>
      </dgm:prSet>
      <dgm:spPr/>
    </dgm:pt>
    <dgm:pt modelId="{818C0BB3-442E-42EB-B956-37DA187B65FF}" type="pres">
      <dgm:prSet presAssocID="{79707194-1D02-4749-851A-78251A8D6A8E}" presName="compNode" presStyleCnt="0"/>
      <dgm:spPr/>
    </dgm:pt>
    <dgm:pt modelId="{52A512D9-B40D-47F9-A846-C726F51B1EC6}" type="pres">
      <dgm:prSet presAssocID="{79707194-1D02-4749-851A-78251A8D6A8E}" presName="bgRect" presStyleLbl="bgShp" presStyleIdx="0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CA508474-D63E-4A16-9167-594C791466C4}" type="pres">
      <dgm:prSet presAssocID="{79707194-1D02-4749-851A-78251A8D6A8E}" presName="iconRect" presStyleLbl="node1" presStyleIdx="0" presStyleCnt="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avel"/>
        </a:ext>
      </dgm:extLst>
    </dgm:pt>
    <dgm:pt modelId="{58DC08D3-6ECA-4AC7-A6C4-0D833EF8AF69}" type="pres">
      <dgm:prSet presAssocID="{79707194-1D02-4749-851A-78251A8D6A8E}" presName="spaceRect" presStyleCnt="0"/>
      <dgm:spPr/>
    </dgm:pt>
    <dgm:pt modelId="{DCAD54F1-4A2A-422E-A86B-590182CAB8AA}" type="pres">
      <dgm:prSet presAssocID="{79707194-1D02-4749-851A-78251A8D6A8E}" presName="parTx" presStyleLbl="revTx" presStyleIdx="0" presStyleCnt="7">
        <dgm:presLayoutVars>
          <dgm:chMax val="0"/>
          <dgm:chPref val="0"/>
        </dgm:presLayoutVars>
      </dgm:prSet>
      <dgm:spPr/>
    </dgm:pt>
    <dgm:pt modelId="{446014D1-B799-4496-B82A-4DBBC3131499}" type="pres">
      <dgm:prSet presAssocID="{CE8F1689-E460-49B6-A0B4-2F42C7441D1E}" presName="sibTrans" presStyleCnt="0"/>
      <dgm:spPr/>
    </dgm:pt>
    <dgm:pt modelId="{4FFB4288-2951-440D-A775-60785C73E6AA}" type="pres">
      <dgm:prSet presAssocID="{75B6AE6A-9B0F-4ADC-B232-83EB04025669}" presName="compNode" presStyleCnt="0"/>
      <dgm:spPr/>
    </dgm:pt>
    <dgm:pt modelId="{02EE004D-26FC-47D1-8269-69D20901CA23}" type="pres">
      <dgm:prSet presAssocID="{75B6AE6A-9B0F-4ADC-B232-83EB04025669}" presName="bgRect" presStyleLbl="bgShp" presStyleIdx="1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9E412361-0DD8-455E-ABDC-E515BF65EB9D}" type="pres">
      <dgm:prSet presAssocID="{75B6AE6A-9B0F-4ADC-B232-83EB04025669}" presName="iconRect" presStyleLbl="node1" presStyleIdx="1" presStyleCnt="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lay"/>
        </a:ext>
      </dgm:extLst>
    </dgm:pt>
    <dgm:pt modelId="{C21354FB-AD36-42B0-93BE-5F83ED150F04}" type="pres">
      <dgm:prSet presAssocID="{75B6AE6A-9B0F-4ADC-B232-83EB04025669}" presName="spaceRect" presStyleCnt="0"/>
      <dgm:spPr/>
    </dgm:pt>
    <dgm:pt modelId="{A97B8EB0-C577-4054-84C1-818EA38BF5B9}" type="pres">
      <dgm:prSet presAssocID="{75B6AE6A-9B0F-4ADC-B232-83EB04025669}" presName="parTx" presStyleLbl="revTx" presStyleIdx="1" presStyleCnt="7">
        <dgm:presLayoutVars>
          <dgm:chMax val="0"/>
          <dgm:chPref val="0"/>
        </dgm:presLayoutVars>
      </dgm:prSet>
      <dgm:spPr/>
    </dgm:pt>
    <dgm:pt modelId="{9D06C7C4-FB12-4400-9E9F-3C637653350D}" type="pres">
      <dgm:prSet presAssocID="{55B0ED60-47A9-4C9D-BED3-2A9BE70A9BE5}" presName="sibTrans" presStyleCnt="0"/>
      <dgm:spPr/>
    </dgm:pt>
    <dgm:pt modelId="{40ADC1F3-7B7B-415D-B1A9-2DD20BC18B22}" type="pres">
      <dgm:prSet presAssocID="{0C3E5329-EB5E-4889-9701-0849A8CD9D82}" presName="compNode" presStyleCnt="0"/>
      <dgm:spPr/>
    </dgm:pt>
    <dgm:pt modelId="{3951A61D-F069-4616-989D-20A828000FE1}" type="pres">
      <dgm:prSet presAssocID="{0C3E5329-EB5E-4889-9701-0849A8CD9D82}" presName="bgRect" presStyleLbl="bgShp" presStyleIdx="2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B2C44930-8854-438D-90B1-22C51B82B008}" type="pres">
      <dgm:prSet presAssocID="{0C3E5329-EB5E-4889-9701-0849A8CD9D82}" presName="iconRect" presStyleLbl="node1" presStyleIdx="2" presStyleCnt="7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ransfer"/>
        </a:ext>
      </dgm:extLst>
    </dgm:pt>
    <dgm:pt modelId="{BFF2EDA0-9815-4D23-9634-A8908693BE85}" type="pres">
      <dgm:prSet presAssocID="{0C3E5329-EB5E-4889-9701-0849A8CD9D82}" presName="spaceRect" presStyleCnt="0"/>
      <dgm:spPr/>
    </dgm:pt>
    <dgm:pt modelId="{635091B8-29C0-4ABE-8DEC-334A61052E0C}" type="pres">
      <dgm:prSet presAssocID="{0C3E5329-EB5E-4889-9701-0849A8CD9D82}" presName="parTx" presStyleLbl="revTx" presStyleIdx="2" presStyleCnt="7">
        <dgm:presLayoutVars>
          <dgm:chMax val="0"/>
          <dgm:chPref val="0"/>
        </dgm:presLayoutVars>
      </dgm:prSet>
      <dgm:spPr/>
    </dgm:pt>
    <dgm:pt modelId="{935AB0F7-C73A-4D15-9A92-396AE39B2FBF}" type="pres">
      <dgm:prSet presAssocID="{1E1AEB77-E215-409E-B983-A154334C1190}" presName="sibTrans" presStyleCnt="0"/>
      <dgm:spPr/>
    </dgm:pt>
    <dgm:pt modelId="{5668A616-B452-4CEF-8524-26589C63C0B2}" type="pres">
      <dgm:prSet presAssocID="{49DA00EC-20E3-4959-92DB-5FE0DB4E1078}" presName="compNode" presStyleCnt="0"/>
      <dgm:spPr/>
    </dgm:pt>
    <dgm:pt modelId="{2B9FBFC2-2DA2-4537-8E9D-0102188BB8DA}" type="pres">
      <dgm:prSet presAssocID="{49DA00EC-20E3-4959-92DB-5FE0DB4E1078}" presName="bgRect" presStyleLbl="bgShp" presStyleIdx="3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098824A6-FCA5-4A1B-9C93-02EBF6CE40C2}" type="pres">
      <dgm:prSet presAssocID="{49DA00EC-20E3-4959-92DB-5FE0DB4E1078}" presName="iconRect" presStyleLbl="node1" presStyleIdx="3" presStyleCnt="7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opwatch"/>
        </a:ext>
      </dgm:extLst>
    </dgm:pt>
    <dgm:pt modelId="{73A4532D-A95C-4D67-8544-DF90B65AF08C}" type="pres">
      <dgm:prSet presAssocID="{49DA00EC-20E3-4959-92DB-5FE0DB4E1078}" presName="spaceRect" presStyleCnt="0"/>
      <dgm:spPr/>
    </dgm:pt>
    <dgm:pt modelId="{CDB89971-F98F-4B5E-A3E6-D8B427874E72}" type="pres">
      <dgm:prSet presAssocID="{49DA00EC-20E3-4959-92DB-5FE0DB4E1078}" presName="parTx" presStyleLbl="revTx" presStyleIdx="3" presStyleCnt="7">
        <dgm:presLayoutVars>
          <dgm:chMax val="0"/>
          <dgm:chPref val="0"/>
        </dgm:presLayoutVars>
      </dgm:prSet>
      <dgm:spPr/>
    </dgm:pt>
    <dgm:pt modelId="{C8798EC8-CDEE-4D35-BD8F-FAC6BDEAA192}" type="pres">
      <dgm:prSet presAssocID="{1407D1F4-DC74-4D0C-B033-11CE032EE418}" presName="sibTrans" presStyleCnt="0"/>
      <dgm:spPr/>
    </dgm:pt>
    <dgm:pt modelId="{4729E7F1-7AFB-47B7-90AD-2020F44037FA}" type="pres">
      <dgm:prSet presAssocID="{1EB4BC62-DA52-4EFC-9CA8-418C08D2348D}" presName="compNode" presStyleCnt="0"/>
      <dgm:spPr/>
    </dgm:pt>
    <dgm:pt modelId="{5A0D2530-66A5-456F-BF2D-18FEAD527C88}" type="pres">
      <dgm:prSet presAssocID="{1EB4BC62-DA52-4EFC-9CA8-418C08D2348D}" presName="bgRect" presStyleLbl="bgShp" presStyleIdx="4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D114D602-97C4-4F4E-85C6-8EC0B97D38A5}" type="pres">
      <dgm:prSet presAssocID="{1EB4BC62-DA52-4EFC-9CA8-418C08D2348D}" presName="iconRect" presStyleLbl="node1" presStyleIdx="4" presStyleCnt="7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Judge"/>
        </a:ext>
      </dgm:extLst>
    </dgm:pt>
    <dgm:pt modelId="{F68ED1C6-C795-4016-B7C9-7ECEB42F8720}" type="pres">
      <dgm:prSet presAssocID="{1EB4BC62-DA52-4EFC-9CA8-418C08D2348D}" presName="spaceRect" presStyleCnt="0"/>
      <dgm:spPr/>
    </dgm:pt>
    <dgm:pt modelId="{01E7E8D9-EBEA-4B3C-B1F3-7D20DA711A7B}" type="pres">
      <dgm:prSet presAssocID="{1EB4BC62-DA52-4EFC-9CA8-418C08D2348D}" presName="parTx" presStyleLbl="revTx" presStyleIdx="4" presStyleCnt="7">
        <dgm:presLayoutVars>
          <dgm:chMax val="0"/>
          <dgm:chPref val="0"/>
        </dgm:presLayoutVars>
      </dgm:prSet>
      <dgm:spPr/>
    </dgm:pt>
    <dgm:pt modelId="{6D0477B7-4235-4AC0-8113-107D722676B1}" type="pres">
      <dgm:prSet presAssocID="{C9EFA232-B22D-4D18-BF81-0244D2085864}" presName="sibTrans" presStyleCnt="0"/>
      <dgm:spPr/>
    </dgm:pt>
    <dgm:pt modelId="{9953D956-CD16-4C82-BDAF-7032F64A9D82}" type="pres">
      <dgm:prSet presAssocID="{231A5E3E-BEAC-4643-AEC0-494E55F94A3B}" presName="compNode" presStyleCnt="0"/>
      <dgm:spPr/>
    </dgm:pt>
    <dgm:pt modelId="{82650058-36C7-4EF2-A510-6B2A3BC56CBA}" type="pres">
      <dgm:prSet presAssocID="{231A5E3E-BEAC-4643-AEC0-494E55F94A3B}" presName="bgRect" presStyleLbl="bgShp" presStyleIdx="5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572EC3DD-4747-4D08-8080-FEFD01566235}" type="pres">
      <dgm:prSet presAssocID="{231A5E3E-BEAC-4643-AEC0-494E55F94A3B}" presName="iconRect" presStyleLbl="node1" presStyleIdx="5" presStyleCnt="7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isconnected"/>
        </a:ext>
      </dgm:extLst>
    </dgm:pt>
    <dgm:pt modelId="{C07ACDF1-B1C1-4585-90B0-3E3EA7B79A09}" type="pres">
      <dgm:prSet presAssocID="{231A5E3E-BEAC-4643-AEC0-494E55F94A3B}" presName="spaceRect" presStyleCnt="0"/>
      <dgm:spPr/>
    </dgm:pt>
    <dgm:pt modelId="{1D5AEC99-75BD-4251-A255-724AD0F0A785}" type="pres">
      <dgm:prSet presAssocID="{231A5E3E-BEAC-4643-AEC0-494E55F94A3B}" presName="parTx" presStyleLbl="revTx" presStyleIdx="5" presStyleCnt="7">
        <dgm:presLayoutVars>
          <dgm:chMax val="0"/>
          <dgm:chPref val="0"/>
        </dgm:presLayoutVars>
      </dgm:prSet>
      <dgm:spPr/>
    </dgm:pt>
    <dgm:pt modelId="{0F635DEF-46EA-4A08-8E08-AA4EB08FB4FB}" type="pres">
      <dgm:prSet presAssocID="{8F061D4F-67C0-462D-98B5-6197DF537B08}" presName="sibTrans" presStyleCnt="0"/>
      <dgm:spPr/>
    </dgm:pt>
    <dgm:pt modelId="{BD66F62F-8C23-456A-8572-580B0566BB24}" type="pres">
      <dgm:prSet presAssocID="{66759DA8-7923-4702-8294-94150FFE7905}" presName="compNode" presStyleCnt="0"/>
      <dgm:spPr/>
    </dgm:pt>
    <dgm:pt modelId="{BE66F222-4B7E-4DCF-98CD-4A27921714C6}" type="pres">
      <dgm:prSet presAssocID="{66759DA8-7923-4702-8294-94150FFE7905}" presName="bgRect" presStyleLbl="bgShp" presStyleIdx="6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ABDFA904-3FD3-466E-BD6D-472D480E10CF}" type="pres">
      <dgm:prSet presAssocID="{66759DA8-7923-4702-8294-94150FFE7905}" presName="iconRect" presStyleLbl="node1" presStyleIdx="6" presStyleCnt="7"/>
      <dgm:spPr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nger"/>
        </a:ext>
      </dgm:extLst>
    </dgm:pt>
    <dgm:pt modelId="{8FA247E0-6072-457B-89A1-DED4048B43F8}" type="pres">
      <dgm:prSet presAssocID="{66759DA8-7923-4702-8294-94150FFE7905}" presName="spaceRect" presStyleCnt="0"/>
      <dgm:spPr/>
    </dgm:pt>
    <dgm:pt modelId="{D7759015-1B81-45A3-B24B-BC9FC83003A9}" type="pres">
      <dgm:prSet presAssocID="{66759DA8-7923-4702-8294-94150FFE7905}" presName="parTx" presStyleLbl="revTx" presStyleIdx="6" presStyleCnt="7">
        <dgm:presLayoutVars>
          <dgm:chMax val="0"/>
          <dgm:chPref val="0"/>
        </dgm:presLayoutVars>
      </dgm:prSet>
      <dgm:spPr/>
    </dgm:pt>
  </dgm:ptLst>
  <dgm:cxnLst>
    <dgm:cxn modelId="{A70F440A-3896-4E7E-9CDC-FB50E483E696}" srcId="{847EA9A9-2A7E-4FE6-BE29-8DF151ECBC7E}" destId="{231A5E3E-BEAC-4643-AEC0-494E55F94A3B}" srcOrd="5" destOrd="0" parTransId="{2BC36E68-80C0-47FE-9E60-1D6E80AC1868}" sibTransId="{8F061D4F-67C0-462D-98B5-6197DF537B08}"/>
    <dgm:cxn modelId="{6DA1A32B-4310-428E-A8D9-1F73C1B6E058}" srcId="{847EA9A9-2A7E-4FE6-BE29-8DF151ECBC7E}" destId="{79707194-1D02-4749-851A-78251A8D6A8E}" srcOrd="0" destOrd="0" parTransId="{B397E0D1-58FC-466E-A76A-0F9A90D32313}" sibTransId="{CE8F1689-E460-49B6-A0B4-2F42C7441D1E}"/>
    <dgm:cxn modelId="{35CBB635-1BA0-41B8-9961-FF99A31CAA2E}" type="presOf" srcId="{49DA00EC-20E3-4959-92DB-5FE0DB4E1078}" destId="{CDB89971-F98F-4B5E-A3E6-D8B427874E72}" srcOrd="0" destOrd="0" presId="urn:microsoft.com/office/officeart/2018/2/layout/IconVerticalSolidList"/>
    <dgm:cxn modelId="{21F2313E-46CD-4AF2-B8AC-ADFC2E237FAB}" type="presOf" srcId="{231A5E3E-BEAC-4643-AEC0-494E55F94A3B}" destId="{1D5AEC99-75BD-4251-A255-724AD0F0A785}" srcOrd="0" destOrd="0" presId="urn:microsoft.com/office/officeart/2018/2/layout/IconVerticalSolidList"/>
    <dgm:cxn modelId="{F27F425C-DE3B-414A-AE19-F5E8B1E5CDC8}" srcId="{847EA9A9-2A7E-4FE6-BE29-8DF151ECBC7E}" destId="{49DA00EC-20E3-4959-92DB-5FE0DB4E1078}" srcOrd="3" destOrd="0" parTransId="{ADCB2420-3E8D-4D10-815F-BFB534DBDEEC}" sibTransId="{1407D1F4-DC74-4D0C-B033-11CE032EE418}"/>
    <dgm:cxn modelId="{C59E0F48-3478-46D1-AA9A-6FDB2A59D6A6}" type="presOf" srcId="{66759DA8-7923-4702-8294-94150FFE7905}" destId="{D7759015-1B81-45A3-B24B-BC9FC83003A9}" srcOrd="0" destOrd="0" presId="urn:microsoft.com/office/officeart/2018/2/layout/IconVerticalSolidList"/>
    <dgm:cxn modelId="{769BD84F-1BAF-4E96-AD0C-DF2BC9E87A4F}" type="presOf" srcId="{847EA9A9-2A7E-4FE6-BE29-8DF151ECBC7E}" destId="{41503E0F-AB6D-4568-9453-ABA59B82A4CC}" srcOrd="0" destOrd="0" presId="urn:microsoft.com/office/officeart/2018/2/layout/IconVerticalSolidList"/>
    <dgm:cxn modelId="{B11CCC7D-F611-4560-91A0-7317D718AAA1}" type="presOf" srcId="{75B6AE6A-9B0F-4ADC-B232-83EB04025669}" destId="{A97B8EB0-C577-4054-84C1-818EA38BF5B9}" srcOrd="0" destOrd="0" presId="urn:microsoft.com/office/officeart/2018/2/layout/IconVerticalSolidList"/>
    <dgm:cxn modelId="{7D2C2A8C-D8C1-4014-80BA-AE4C8A7A5B35}" srcId="{847EA9A9-2A7E-4FE6-BE29-8DF151ECBC7E}" destId="{1EB4BC62-DA52-4EFC-9CA8-418C08D2348D}" srcOrd="4" destOrd="0" parTransId="{5ADD28B4-A80F-4093-AC94-16D6D563B90B}" sibTransId="{C9EFA232-B22D-4D18-BF81-0244D2085864}"/>
    <dgm:cxn modelId="{8EB8F7AE-115F-4B2C-A445-6CE16DDC1212}" srcId="{847EA9A9-2A7E-4FE6-BE29-8DF151ECBC7E}" destId="{66759DA8-7923-4702-8294-94150FFE7905}" srcOrd="6" destOrd="0" parTransId="{8CE7926D-684E-4318-8AD1-74B82DCD2295}" sibTransId="{94499F2B-AD42-41F6-B221-73712FCD1BC6}"/>
    <dgm:cxn modelId="{09D1CAC9-7D18-443C-AB96-4A599AA4EE14}" srcId="{847EA9A9-2A7E-4FE6-BE29-8DF151ECBC7E}" destId="{0C3E5329-EB5E-4889-9701-0849A8CD9D82}" srcOrd="2" destOrd="0" parTransId="{4F78A490-1C23-4BBF-8016-997EFAAE478F}" sibTransId="{1E1AEB77-E215-409E-B983-A154334C1190}"/>
    <dgm:cxn modelId="{38F627CC-9C4C-4FAD-9A62-0690139D8B49}" srcId="{847EA9A9-2A7E-4FE6-BE29-8DF151ECBC7E}" destId="{75B6AE6A-9B0F-4ADC-B232-83EB04025669}" srcOrd="1" destOrd="0" parTransId="{AC4E4FE5-E6E9-4735-AABB-0C6819A38BD3}" sibTransId="{55B0ED60-47A9-4C9D-BED3-2A9BE70A9BE5}"/>
    <dgm:cxn modelId="{CDB83BF2-F802-4870-A9C9-E84B7FAB73A2}" type="presOf" srcId="{79707194-1D02-4749-851A-78251A8D6A8E}" destId="{DCAD54F1-4A2A-422E-A86B-590182CAB8AA}" srcOrd="0" destOrd="0" presId="urn:microsoft.com/office/officeart/2018/2/layout/IconVerticalSolidList"/>
    <dgm:cxn modelId="{B7200DFA-34E1-4319-8FF0-08A7A8B3A2CA}" type="presOf" srcId="{0C3E5329-EB5E-4889-9701-0849A8CD9D82}" destId="{635091B8-29C0-4ABE-8DEC-334A61052E0C}" srcOrd="0" destOrd="0" presId="urn:microsoft.com/office/officeart/2018/2/layout/IconVerticalSolidList"/>
    <dgm:cxn modelId="{2F4046FC-E146-4747-9961-79B1885B13CE}" type="presOf" srcId="{1EB4BC62-DA52-4EFC-9CA8-418C08D2348D}" destId="{01E7E8D9-EBEA-4B3C-B1F3-7D20DA711A7B}" srcOrd="0" destOrd="0" presId="urn:microsoft.com/office/officeart/2018/2/layout/IconVerticalSolidList"/>
    <dgm:cxn modelId="{A96B97F1-5A29-42E7-BD51-833A48CF88C8}" type="presParOf" srcId="{41503E0F-AB6D-4568-9453-ABA59B82A4CC}" destId="{818C0BB3-442E-42EB-B956-37DA187B65FF}" srcOrd="0" destOrd="0" presId="urn:microsoft.com/office/officeart/2018/2/layout/IconVerticalSolidList"/>
    <dgm:cxn modelId="{F9C36CC4-9FAF-4871-B88D-9A101E047D2C}" type="presParOf" srcId="{818C0BB3-442E-42EB-B956-37DA187B65FF}" destId="{52A512D9-B40D-47F9-A846-C726F51B1EC6}" srcOrd="0" destOrd="0" presId="urn:microsoft.com/office/officeart/2018/2/layout/IconVerticalSolidList"/>
    <dgm:cxn modelId="{CD8620FF-2639-4D5D-A789-2570570DC178}" type="presParOf" srcId="{818C0BB3-442E-42EB-B956-37DA187B65FF}" destId="{CA508474-D63E-4A16-9167-594C791466C4}" srcOrd="1" destOrd="0" presId="urn:microsoft.com/office/officeart/2018/2/layout/IconVerticalSolidList"/>
    <dgm:cxn modelId="{0A20531A-C251-4617-9C00-920314DE882C}" type="presParOf" srcId="{818C0BB3-442E-42EB-B956-37DA187B65FF}" destId="{58DC08D3-6ECA-4AC7-A6C4-0D833EF8AF69}" srcOrd="2" destOrd="0" presId="urn:microsoft.com/office/officeart/2018/2/layout/IconVerticalSolidList"/>
    <dgm:cxn modelId="{5320EEDF-4627-45D4-9C2B-1F9B4B03BCB6}" type="presParOf" srcId="{818C0BB3-442E-42EB-B956-37DA187B65FF}" destId="{DCAD54F1-4A2A-422E-A86B-590182CAB8AA}" srcOrd="3" destOrd="0" presId="urn:microsoft.com/office/officeart/2018/2/layout/IconVerticalSolidList"/>
    <dgm:cxn modelId="{EB0629F8-DD16-4219-81CD-ACD78936E367}" type="presParOf" srcId="{41503E0F-AB6D-4568-9453-ABA59B82A4CC}" destId="{446014D1-B799-4496-B82A-4DBBC3131499}" srcOrd="1" destOrd="0" presId="urn:microsoft.com/office/officeart/2018/2/layout/IconVerticalSolidList"/>
    <dgm:cxn modelId="{DEC816AA-56A5-4242-A542-B238D00E35FF}" type="presParOf" srcId="{41503E0F-AB6D-4568-9453-ABA59B82A4CC}" destId="{4FFB4288-2951-440D-A775-60785C73E6AA}" srcOrd="2" destOrd="0" presId="urn:microsoft.com/office/officeart/2018/2/layout/IconVerticalSolidList"/>
    <dgm:cxn modelId="{1F3228A0-6C71-462A-A3E5-88299F164767}" type="presParOf" srcId="{4FFB4288-2951-440D-A775-60785C73E6AA}" destId="{02EE004D-26FC-47D1-8269-69D20901CA23}" srcOrd="0" destOrd="0" presId="urn:microsoft.com/office/officeart/2018/2/layout/IconVerticalSolidList"/>
    <dgm:cxn modelId="{B01EC945-2D77-43A3-9344-43C3425C6935}" type="presParOf" srcId="{4FFB4288-2951-440D-A775-60785C73E6AA}" destId="{9E412361-0DD8-455E-ABDC-E515BF65EB9D}" srcOrd="1" destOrd="0" presId="urn:microsoft.com/office/officeart/2018/2/layout/IconVerticalSolidList"/>
    <dgm:cxn modelId="{6A6EF239-A496-4E1D-A1C7-14C288BB05A3}" type="presParOf" srcId="{4FFB4288-2951-440D-A775-60785C73E6AA}" destId="{C21354FB-AD36-42B0-93BE-5F83ED150F04}" srcOrd="2" destOrd="0" presId="urn:microsoft.com/office/officeart/2018/2/layout/IconVerticalSolidList"/>
    <dgm:cxn modelId="{00EBF542-EA63-475B-9FC0-FD6BEA0CD0DE}" type="presParOf" srcId="{4FFB4288-2951-440D-A775-60785C73E6AA}" destId="{A97B8EB0-C577-4054-84C1-818EA38BF5B9}" srcOrd="3" destOrd="0" presId="urn:microsoft.com/office/officeart/2018/2/layout/IconVerticalSolidList"/>
    <dgm:cxn modelId="{BFBF4862-AEFC-4730-AF56-2BCA2D176B04}" type="presParOf" srcId="{41503E0F-AB6D-4568-9453-ABA59B82A4CC}" destId="{9D06C7C4-FB12-4400-9E9F-3C637653350D}" srcOrd="3" destOrd="0" presId="urn:microsoft.com/office/officeart/2018/2/layout/IconVerticalSolidList"/>
    <dgm:cxn modelId="{9465FF06-E6DE-4E7E-A26D-5301F0426BA8}" type="presParOf" srcId="{41503E0F-AB6D-4568-9453-ABA59B82A4CC}" destId="{40ADC1F3-7B7B-415D-B1A9-2DD20BC18B22}" srcOrd="4" destOrd="0" presId="urn:microsoft.com/office/officeart/2018/2/layout/IconVerticalSolidList"/>
    <dgm:cxn modelId="{8B08D321-DCD8-4DAE-9522-9CB121C970A3}" type="presParOf" srcId="{40ADC1F3-7B7B-415D-B1A9-2DD20BC18B22}" destId="{3951A61D-F069-4616-989D-20A828000FE1}" srcOrd="0" destOrd="0" presId="urn:microsoft.com/office/officeart/2018/2/layout/IconVerticalSolidList"/>
    <dgm:cxn modelId="{87745F12-551F-4650-8A52-AC7E8313EEDD}" type="presParOf" srcId="{40ADC1F3-7B7B-415D-B1A9-2DD20BC18B22}" destId="{B2C44930-8854-438D-90B1-22C51B82B008}" srcOrd="1" destOrd="0" presId="urn:microsoft.com/office/officeart/2018/2/layout/IconVerticalSolidList"/>
    <dgm:cxn modelId="{808C5896-32CD-4AA2-A9D1-E49F16A46F2C}" type="presParOf" srcId="{40ADC1F3-7B7B-415D-B1A9-2DD20BC18B22}" destId="{BFF2EDA0-9815-4D23-9634-A8908693BE85}" srcOrd="2" destOrd="0" presId="urn:microsoft.com/office/officeart/2018/2/layout/IconVerticalSolidList"/>
    <dgm:cxn modelId="{9903197A-9992-4972-8794-47EBA8112EB4}" type="presParOf" srcId="{40ADC1F3-7B7B-415D-B1A9-2DD20BC18B22}" destId="{635091B8-29C0-4ABE-8DEC-334A61052E0C}" srcOrd="3" destOrd="0" presId="urn:microsoft.com/office/officeart/2018/2/layout/IconVerticalSolidList"/>
    <dgm:cxn modelId="{1FA0F2C5-C01B-443E-BA46-4D54437FD98B}" type="presParOf" srcId="{41503E0F-AB6D-4568-9453-ABA59B82A4CC}" destId="{935AB0F7-C73A-4D15-9A92-396AE39B2FBF}" srcOrd="5" destOrd="0" presId="urn:microsoft.com/office/officeart/2018/2/layout/IconVerticalSolidList"/>
    <dgm:cxn modelId="{7EEF93E8-1E8B-4D9D-A539-84CA9AE6F2C3}" type="presParOf" srcId="{41503E0F-AB6D-4568-9453-ABA59B82A4CC}" destId="{5668A616-B452-4CEF-8524-26589C63C0B2}" srcOrd="6" destOrd="0" presId="urn:microsoft.com/office/officeart/2018/2/layout/IconVerticalSolidList"/>
    <dgm:cxn modelId="{1C0ACCC3-6070-4585-B39D-4116A77DB8A0}" type="presParOf" srcId="{5668A616-B452-4CEF-8524-26589C63C0B2}" destId="{2B9FBFC2-2DA2-4537-8E9D-0102188BB8DA}" srcOrd="0" destOrd="0" presId="urn:microsoft.com/office/officeart/2018/2/layout/IconVerticalSolidList"/>
    <dgm:cxn modelId="{86D1B6FA-F6B3-4D9B-A311-442DEC79DFC4}" type="presParOf" srcId="{5668A616-B452-4CEF-8524-26589C63C0B2}" destId="{098824A6-FCA5-4A1B-9C93-02EBF6CE40C2}" srcOrd="1" destOrd="0" presId="urn:microsoft.com/office/officeart/2018/2/layout/IconVerticalSolidList"/>
    <dgm:cxn modelId="{27721078-D2C6-4081-8B7B-B405D43D8E1B}" type="presParOf" srcId="{5668A616-B452-4CEF-8524-26589C63C0B2}" destId="{73A4532D-A95C-4D67-8544-DF90B65AF08C}" srcOrd="2" destOrd="0" presId="urn:microsoft.com/office/officeart/2018/2/layout/IconVerticalSolidList"/>
    <dgm:cxn modelId="{50754384-16D6-451D-BBA8-8175EF6C191E}" type="presParOf" srcId="{5668A616-B452-4CEF-8524-26589C63C0B2}" destId="{CDB89971-F98F-4B5E-A3E6-D8B427874E72}" srcOrd="3" destOrd="0" presId="urn:microsoft.com/office/officeart/2018/2/layout/IconVerticalSolidList"/>
    <dgm:cxn modelId="{2EBDB93C-4B5F-49B4-995D-9539E30868F0}" type="presParOf" srcId="{41503E0F-AB6D-4568-9453-ABA59B82A4CC}" destId="{C8798EC8-CDEE-4D35-BD8F-FAC6BDEAA192}" srcOrd="7" destOrd="0" presId="urn:microsoft.com/office/officeart/2018/2/layout/IconVerticalSolidList"/>
    <dgm:cxn modelId="{9EE588BE-CF99-4D67-AC18-49D2FA905824}" type="presParOf" srcId="{41503E0F-AB6D-4568-9453-ABA59B82A4CC}" destId="{4729E7F1-7AFB-47B7-90AD-2020F44037FA}" srcOrd="8" destOrd="0" presId="urn:microsoft.com/office/officeart/2018/2/layout/IconVerticalSolidList"/>
    <dgm:cxn modelId="{8060E9C5-4926-4833-B2E3-4778632D082B}" type="presParOf" srcId="{4729E7F1-7AFB-47B7-90AD-2020F44037FA}" destId="{5A0D2530-66A5-456F-BF2D-18FEAD527C88}" srcOrd="0" destOrd="0" presId="urn:microsoft.com/office/officeart/2018/2/layout/IconVerticalSolidList"/>
    <dgm:cxn modelId="{37B116D7-BDC5-43CC-9D49-53A8A82FA260}" type="presParOf" srcId="{4729E7F1-7AFB-47B7-90AD-2020F44037FA}" destId="{D114D602-97C4-4F4E-85C6-8EC0B97D38A5}" srcOrd="1" destOrd="0" presId="urn:microsoft.com/office/officeart/2018/2/layout/IconVerticalSolidList"/>
    <dgm:cxn modelId="{997661BC-0166-4F17-BD20-7F809BC25E48}" type="presParOf" srcId="{4729E7F1-7AFB-47B7-90AD-2020F44037FA}" destId="{F68ED1C6-C795-4016-B7C9-7ECEB42F8720}" srcOrd="2" destOrd="0" presId="urn:microsoft.com/office/officeart/2018/2/layout/IconVerticalSolidList"/>
    <dgm:cxn modelId="{E983FF4D-29CC-4DEE-B598-0E79079DDC99}" type="presParOf" srcId="{4729E7F1-7AFB-47B7-90AD-2020F44037FA}" destId="{01E7E8D9-EBEA-4B3C-B1F3-7D20DA711A7B}" srcOrd="3" destOrd="0" presId="urn:microsoft.com/office/officeart/2018/2/layout/IconVerticalSolidList"/>
    <dgm:cxn modelId="{581C781B-E4D4-4287-BC1C-A9047E3304AA}" type="presParOf" srcId="{41503E0F-AB6D-4568-9453-ABA59B82A4CC}" destId="{6D0477B7-4235-4AC0-8113-107D722676B1}" srcOrd="9" destOrd="0" presId="urn:microsoft.com/office/officeart/2018/2/layout/IconVerticalSolidList"/>
    <dgm:cxn modelId="{932532DB-ADA3-48C9-8EE6-0DABEEBC588B}" type="presParOf" srcId="{41503E0F-AB6D-4568-9453-ABA59B82A4CC}" destId="{9953D956-CD16-4C82-BDAF-7032F64A9D82}" srcOrd="10" destOrd="0" presId="urn:microsoft.com/office/officeart/2018/2/layout/IconVerticalSolidList"/>
    <dgm:cxn modelId="{771B673F-2C6C-4C7F-BDB9-ACE2FCCFE87C}" type="presParOf" srcId="{9953D956-CD16-4C82-BDAF-7032F64A9D82}" destId="{82650058-36C7-4EF2-A510-6B2A3BC56CBA}" srcOrd="0" destOrd="0" presId="urn:microsoft.com/office/officeart/2018/2/layout/IconVerticalSolidList"/>
    <dgm:cxn modelId="{C2C21D5A-0F19-4BD9-A5C5-352D89D1314C}" type="presParOf" srcId="{9953D956-CD16-4C82-BDAF-7032F64A9D82}" destId="{572EC3DD-4747-4D08-8080-FEFD01566235}" srcOrd="1" destOrd="0" presId="urn:microsoft.com/office/officeart/2018/2/layout/IconVerticalSolidList"/>
    <dgm:cxn modelId="{75E2AD0A-E686-4CF5-965E-25B10312316A}" type="presParOf" srcId="{9953D956-CD16-4C82-BDAF-7032F64A9D82}" destId="{C07ACDF1-B1C1-4585-90B0-3E3EA7B79A09}" srcOrd="2" destOrd="0" presId="urn:microsoft.com/office/officeart/2018/2/layout/IconVerticalSolidList"/>
    <dgm:cxn modelId="{3935DFCA-F17F-4080-B49C-533BCE298EC7}" type="presParOf" srcId="{9953D956-CD16-4C82-BDAF-7032F64A9D82}" destId="{1D5AEC99-75BD-4251-A255-724AD0F0A785}" srcOrd="3" destOrd="0" presId="urn:microsoft.com/office/officeart/2018/2/layout/IconVerticalSolidList"/>
    <dgm:cxn modelId="{11020AC4-72C7-4E4E-A4A7-F41E133A7160}" type="presParOf" srcId="{41503E0F-AB6D-4568-9453-ABA59B82A4CC}" destId="{0F635DEF-46EA-4A08-8E08-AA4EB08FB4FB}" srcOrd="11" destOrd="0" presId="urn:microsoft.com/office/officeart/2018/2/layout/IconVerticalSolidList"/>
    <dgm:cxn modelId="{0EEDE28D-CD19-4886-92F3-EB556FA5E0E8}" type="presParOf" srcId="{41503E0F-AB6D-4568-9453-ABA59B82A4CC}" destId="{BD66F62F-8C23-456A-8572-580B0566BB24}" srcOrd="12" destOrd="0" presId="urn:microsoft.com/office/officeart/2018/2/layout/IconVerticalSolidList"/>
    <dgm:cxn modelId="{E79DC086-EA97-496B-B17E-67C6140219EF}" type="presParOf" srcId="{BD66F62F-8C23-456A-8572-580B0566BB24}" destId="{BE66F222-4B7E-4DCF-98CD-4A27921714C6}" srcOrd="0" destOrd="0" presId="urn:microsoft.com/office/officeart/2018/2/layout/IconVerticalSolidList"/>
    <dgm:cxn modelId="{41AF3E64-4374-42E7-A5A8-CC46B5145AF3}" type="presParOf" srcId="{BD66F62F-8C23-456A-8572-580B0566BB24}" destId="{ABDFA904-3FD3-466E-BD6D-472D480E10CF}" srcOrd="1" destOrd="0" presId="urn:microsoft.com/office/officeart/2018/2/layout/IconVerticalSolidList"/>
    <dgm:cxn modelId="{A3CD8565-D5BA-4C5E-9BE6-AC5CFCCFCFBE}" type="presParOf" srcId="{BD66F62F-8C23-456A-8572-580B0566BB24}" destId="{8FA247E0-6072-457B-89A1-DED4048B43F8}" srcOrd="2" destOrd="0" presId="urn:microsoft.com/office/officeart/2018/2/layout/IconVerticalSolidList"/>
    <dgm:cxn modelId="{447DD514-1908-4D48-B08E-8EB14B8FA72F}" type="presParOf" srcId="{BD66F62F-8C23-456A-8572-580B0566BB24}" destId="{D7759015-1B81-45A3-B24B-BC9FC83003A9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B06EB90-98C5-4859-922A-0B07742D82AD}" type="doc">
      <dgm:prSet loTypeId="urn:microsoft.com/office/officeart/2005/8/layout/hList1" loCatId="list" qsTypeId="urn:microsoft.com/office/officeart/2005/8/quickstyle/simple2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FD113CBC-AF41-4DDD-A93A-E07E64820BFB}" type="parTrans" cxnId="{655D3A8C-1716-4C44-9DFB-AB28E97A56E8}">
      <dgm:prSet/>
      <dgm:spPr/>
      <dgm:t>
        <a:bodyPr/>
        <a:lstStyle/>
        <a:p>
          <a:endParaRPr lang="en-GB"/>
        </a:p>
      </dgm:t>
    </dgm:pt>
    <dgm:pt modelId="{C29D6BEC-58D3-4007-A770-E0D07CF2E858}">
      <dgm:prSet phldrT="[Text]"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21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Molestie sul posto di lavoro</a:t>
          </a:r>
          <a:endParaRPr lang="en-GB"/>
        </a:p>
      </dgm:t>
    </dgm:pt>
    <dgm:pt modelId="{E4D8EC6F-60EA-4903-9AE3-265F0EC19DDD}" type="parTrans" cxnId="{D5A34E1F-52AD-4011-B776-8E924B9860CE}">
      <dgm:prSet/>
      <dgm:spPr/>
      <dgm:t>
        <a:bodyPr/>
        <a:lstStyle/>
        <a:p>
          <a:endParaRPr lang="en-GB"/>
        </a:p>
      </dgm:t>
    </dgm:pt>
    <dgm:pt modelId="{F6E8E447-F8CD-43F1-87DE-F74AE20E1C91}">
      <dgm:prSet phldrT="[Text]" custT="1"/>
      <dgm:spPr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 anchor="ctr"/>
        <a:lstStyle/>
        <a:p>
          <a:pPr>
            <a:buFont typeface="Arial" panose="020B0604020202020204" pitchFamily="34" charset="0"/>
            <a:buChar char="•"/>
          </a:pPr>
          <a:r>
            <a:rPr lang="it" sz="21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dotta indesiderata o offensiva basata su </a:t>
          </a:r>
          <a:r>
            <a:rPr lang="it" sz="2100" b="0" i="1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qualsiasi terreno </a:t>
          </a:r>
          <a:r>
            <a:rPr lang="it" sz="21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rotetto.</a:t>
          </a:r>
        </a:p>
      </dgm:t>
    </dgm:pt>
    <dgm:pt modelId="{21C90245-59AD-4456-922C-A50A5148DBF2}" type="sibTrans" cxnId="{D5A34E1F-52AD-4011-B776-8E924B9860CE}">
      <dgm:prSet/>
      <dgm:spPr/>
      <dgm:t>
        <a:bodyPr/>
        <a:lstStyle/>
        <a:p>
          <a:endParaRPr lang="en-GB"/>
        </a:p>
      </dgm:t>
    </dgm:pt>
    <dgm:pt modelId="{234ECDCA-080C-43A2-ACFE-8CED12658805}" type="sibTrans" cxnId="{655D3A8C-1716-4C44-9DFB-AB28E97A56E8}">
      <dgm:prSet/>
      <dgm:spPr/>
      <dgm:t>
        <a:bodyPr/>
        <a:lstStyle/>
        <a:p>
          <a:endParaRPr lang="en-GB"/>
        </a:p>
      </dgm:t>
    </dgm:pt>
    <dgm:pt modelId="{5826039D-93BE-4C3C-BF14-BA91B7E8A1CC}" type="parTrans" cxnId="{4132BDD7-42F2-41F0-B4C1-9B296DE1ACCC}">
      <dgm:prSet/>
      <dgm:spPr/>
      <dgm:t>
        <a:bodyPr/>
        <a:lstStyle/>
        <a:p>
          <a:endParaRPr lang="en-GB"/>
        </a:p>
      </dgm:t>
    </dgm:pt>
    <dgm:pt modelId="{2DC141A4-B592-435C-823C-677788188CBD}">
      <dgm:prSet phldrT="[Text]"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21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Messa a terra protetta</a:t>
          </a:r>
          <a:endParaRPr lang="en-GB"/>
        </a:p>
      </dgm:t>
    </dgm:pt>
    <dgm:pt modelId="{6673230B-FBEF-4439-B2A7-4E383CCD7B9A}" type="parTrans" cxnId="{8F227D1D-3E15-4530-A8D2-9A1136C20165}">
      <dgm:prSet/>
      <dgm:spPr/>
      <dgm:t>
        <a:bodyPr/>
        <a:lstStyle/>
        <a:p>
          <a:endParaRPr lang="en-GB"/>
        </a:p>
      </dgm:t>
    </dgm:pt>
    <dgm:pt modelId="{223E87BF-8BFA-4539-B616-ECF59C7A60AB}">
      <dgm:prSet phldrT="[Text]" custT="1"/>
      <dgm:spPr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 anchor="ctr"/>
        <a:lstStyle/>
        <a:p>
          <a:pPr>
            <a:buFont typeface="Arial" panose="020B0604020202020204" pitchFamily="34" charset="0"/>
            <a:buChar char="•"/>
          </a:pPr>
          <a:r>
            <a:rPr lang="it" sz="21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ratti personali che non possono influire sulle decisioni relative all’impiego o all’impiego. </a:t>
          </a:r>
        </a:p>
      </dgm:t>
    </dgm:pt>
    <dgm:pt modelId="{4BBBD690-4134-49AB-AC0C-39A005EB0B05}" type="sibTrans" cxnId="{8F227D1D-3E15-4530-A8D2-9A1136C20165}">
      <dgm:prSet/>
      <dgm:spPr/>
      <dgm:t>
        <a:bodyPr/>
        <a:lstStyle/>
        <a:p>
          <a:endParaRPr lang="en-GB"/>
        </a:p>
      </dgm:t>
    </dgm:pt>
    <dgm:pt modelId="{6BB0F509-FF30-4DCA-9060-AF24BAB8AA60}" type="parTrans" cxnId="{96A7E434-769E-4217-B5B9-5739971C8736}">
      <dgm:prSet/>
      <dgm:spPr/>
      <dgm:t>
        <a:bodyPr/>
        <a:lstStyle/>
        <a:p>
          <a:endParaRPr lang="en-GB"/>
        </a:p>
      </dgm:t>
    </dgm:pt>
    <dgm:pt modelId="{7D531FA8-26FB-40E8-8E51-E296BACB2531}">
      <dgm:prSet custT="1"/>
      <dgm:spPr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 anchor="ctr"/>
        <a:lstStyle/>
        <a:p>
          <a:pPr>
            <a:lnSpc>
              <a:spcPct val="100000"/>
            </a:lnSpc>
          </a:pPr>
          <a:r>
            <a:rPr lang="it" sz="21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Le persone possono avere più di un terreno protetto</a:t>
          </a:r>
        </a:p>
      </dgm:t>
    </dgm:pt>
    <dgm:pt modelId="{E3D22D90-1931-4C1B-AA8B-D22F38EAF7EE}" type="sibTrans" cxnId="{96A7E434-769E-4217-B5B9-5739971C8736}">
      <dgm:prSet/>
      <dgm:spPr/>
      <dgm:t>
        <a:bodyPr/>
        <a:lstStyle/>
        <a:p>
          <a:endParaRPr lang="en-GB"/>
        </a:p>
      </dgm:t>
    </dgm:pt>
    <dgm:pt modelId="{C216D1D6-3A84-44F9-B1FF-E74F77D90E6D}" type="sibTrans" cxnId="{4132BDD7-42F2-41F0-B4C1-9B296DE1ACCC}">
      <dgm:prSet/>
      <dgm:spPr/>
      <dgm:t>
        <a:bodyPr/>
        <a:lstStyle/>
        <a:p>
          <a:endParaRPr lang="en-GB"/>
        </a:p>
      </dgm:t>
    </dgm:pt>
    <dgm:pt modelId="{B714127B-1401-4012-8F90-450026D014FF}" type="parTrans" cxnId="{49066C5E-F7F8-4D41-A9B0-879B89924034}">
      <dgm:prSet/>
      <dgm:spPr/>
      <dgm:t>
        <a:bodyPr/>
        <a:lstStyle/>
        <a:p>
          <a:endParaRPr lang="en-GB"/>
        </a:p>
      </dgm:t>
    </dgm:pt>
    <dgm:pt modelId="{4488291A-BD94-4685-A34F-B885F3B8EFAD}">
      <dgm:prSet phldrT="[Text]"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21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mportamento intersezionale</a:t>
          </a:r>
          <a:endParaRPr lang="en-GB"/>
        </a:p>
      </dgm:t>
    </dgm:pt>
    <dgm:pt modelId="{4B04EFF0-8494-45E6-8388-35E677B94DE7}" type="parTrans" cxnId="{90C4CD21-11CA-40DE-9318-B075C5F30637}">
      <dgm:prSet/>
      <dgm:spPr/>
      <dgm:t>
        <a:bodyPr/>
        <a:lstStyle/>
        <a:p>
          <a:endParaRPr lang="en-GB"/>
        </a:p>
      </dgm:t>
    </dgm:pt>
    <dgm:pt modelId="{2C970401-B79F-44D8-840F-AFC1E28EEAE5}">
      <dgm:prSet phldrT="[Text]" custT="1"/>
      <dgm:spPr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 anchor="ctr"/>
        <a:lstStyle/>
        <a:p>
          <a:pPr>
            <a:buFont typeface="Arial" panose="020B0604020202020204" pitchFamily="34" charset="0"/>
            <a:buChar char="•"/>
          </a:pPr>
          <a:r>
            <a:rPr lang="it" sz="21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dotta impropria mirata a più di un terreno protetto.</a:t>
          </a:r>
        </a:p>
      </dgm:t>
    </dgm:pt>
    <dgm:pt modelId="{7A00C314-1333-4C01-ACD9-D8DA13F98F78}" type="sibTrans" cxnId="{90C4CD21-11CA-40DE-9318-B075C5F30637}">
      <dgm:prSet/>
      <dgm:spPr/>
      <dgm:t>
        <a:bodyPr/>
        <a:lstStyle/>
        <a:p>
          <a:endParaRPr lang="en-GB"/>
        </a:p>
      </dgm:t>
    </dgm:pt>
    <dgm:pt modelId="{746779FD-0831-4795-B732-3F2981C93DCE}" type="parTrans" cxnId="{8747B807-A8E6-4583-BAE5-9202158093F2}">
      <dgm:prSet/>
      <dgm:spPr/>
      <dgm:t>
        <a:bodyPr/>
        <a:lstStyle/>
        <a:p>
          <a:endParaRPr lang="en-GB"/>
        </a:p>
      </dgm:t>
    </dgm:pt>
    <dgm:pt modelId="{D4BEA0F3-CE19-48A9-A8C5-5635AF03EA29}">
      <dgm:prSet/>
      <dgm:spPr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 anchor="ctr"/>
        <a:lstStyle/>
        <a:p>
          <a:pPr>
            <a:lnSpc>
              <a:spcPct val="100000"/>
            </a:lnSpc>
            <a:buNone/>
          </a:pPr>
          <a:endParaRPr lang="en-GB"/>
        </a:p>
      </dgm:t>
    </dgm:pt>
    <dgm:pt modelId="{39491536-F75E-4C10-899B-200BA7EC66DC}" type="sibTrans" cxnId="{8747B807-A8E6-4583-BAE5-9202158093F2}">
      <dgm:prSet/>
      <dgm:spPr/>
      <dgm:t>
        <a:bodyPr/>
        <a:lstStyle/>
        <a:p>
          <a:endParaRPr lang="en-GB"/>
        </a:p>
      </dgm:t>
    </dgm:pt>
    <dgm:pt modelId="{8656FD64-C920-4C1A-B228-DDB0A8E05BB7}" type="sibTrans" cxnId="{49066C5E-F7F8-4D41-A9B0-879B89924034}">
      <dgm:prSet/>
      <dgm:spPr/>
      <dgm:t>
        <a:bodyPr/>
        <a:lstStyle/>
        <a:p>
          <a:endParaRPr lang="en-GB"/>
        </a:p>
      </dgm:t>
    </dgm:pt>
    <dgm:pt modelId="{0FEB684E-E113-451E-B492-3E45F5FEF5C1}" type="pres">
      <dgm:prSet presAssocID="{5B06EB90-98C5-4859-922A-0B07742D82AD}" presName="Name0" presStyleCnt="0">
        <dgm:presLayoutVars>
          <dgm:dir/>
          <dgm:animLvl val="lvl"/>
          <dgm:resizeHandles val="exact"/>
        </dgm:presLayoutVars>
      </dgm:prSet>
      <dgm:spPr/>
    </dgm:pt>
    <dgm:pt modelId="{17481383-1DBB-4595-AEFE-D8D1DA23F699}" type="pres">
      <dgm:prSet presAssocID="{C29D6BEC-58D3-4007-A770-E0D07CF2E858}" presName="composite" presStyleCnt="0"/>
      <dgm:spPr/>
    </dgm:pt>
    <dgm:pt modelId="{B77136BE-66B6-43CA-ABD3-5EC058011C77}" type="pres">
      <dgm:prSet presAssocID="{C29D6BEC-58D3-4007-A770-E0D07CF2E858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5A01AD50-A4BE-433F-882C-7262AEE7DECE}" type="pres">
      <dgm:prSet presAssocID="{C29D6BEC-58D3-4007-A770-E0D07CF2E858}" presName="desTx" presStyleLbl="alignAccFollowNode1" presStyleIdx="0" presStyleCnt="3">
        <dgm:presLayoutVars>
          <dgm:bulletEnabled val="1"/>
        </dgm:presLayoutVars>
      </dgm:prSet>
      <dgm:spPr/>
    </dgm:pt>
    <dgm:pt modelId="{60AC7C03-037F-4D1B-9634-D54EE3C5640B}" type="pres">
      <dgm:prSet presAssocID="{234ECDCA-080C-43A2-ACFE-8CED12658805}" presName="space" presStyleCnt="0"/>
      <dgm:spPr/>
    </dgm:pt>
    <dgm:pt modelId="{ECE42E4D-E658-4135-AE0B-4C8C74A989ED}" type="pres">
      <dgm:prSet presAssocID="{2DC141A4-B592-435C-823C-677788188CBD}" presName="composite" presStyleCnt="0"/>
      <dgm:spPr/>
    </dgm:pt>
    <dgm:pt modelId="{88EAAD68-E779-4ABE-A5DA-0983BBEBC27F}" type="pres">
      <dgm:prSet presAssocID="{2DC141A4-B592-435C-823C-677788188CBD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E09FF709-B9A1-467B-BBF8-2127A63B2EF3}" type="pres">
      <dgm:prSet presAssocID="{2DC141A4-B592-435C-823C-677788188CBD}" presName="desTx" presStyleLbl="alignAccFollowNode1" presStyleIdx="1" presStyleCnt="3">
        <dgm:presLayoutVars>
          <dgm:bulletEnabled val="1"/>
        </dgm:presLayoutVars>
      </dgm:prSet>
      <dgm:spPr/>
    </dgm:pt>
    <dgm:pt modelId="{9C741542-FC0D-4FA2-8EF6-9DC8D76C0ADD}" type="pres">
      <dgm:prSet presAssocID="{C216D1D6-3A84-44F9-B1FF-E74F77D90E6D}" presName="space" presStyleCnt="0"/>
      <dgm:spPr/>
    </dgm:pt>
    <dgm:pt modelId="{16AA0DCF-6F46-4C2E-80CE-761D09CFA840}" type="pres">
      <dgm:prSet presAssocID="{4488291A-BD94-4685-A34F-B885F3B8EFAD}" presName="composite" presStyleCnt="0"/>
      <dgm:spPr/>
    </dgm:pt>
    <dgm:pt modelId="{F96EBAB5-2385-44A0-9DAE-378482389753}" type="pres">
      <dgm:prSet presAssocID="{4488291A-BD94-4685-A34F-B885F3B8EFAD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205221B7-809E-408A-8761-924C5606E944}" type="pres">
      <dgm:prSet presAssocID="{4488291A-BD94-4685-A34F-B885F3B8EFAD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8747B807-A8E6-4583-BAE5-9202158093F2}" srcId="{4488291A-BD94-4685-A34F-B885F3B8EFAD}" destId="{D4BEA0F3-CE19-48A9-A8C5-5635AF03EA29}" srcOrd="1" destOrd="0" parTransId="{746779FD-0831-4795-B732-3F2981C93DCE}" sibTransId="{39491536-F75E-4C10-899B-200BA7EC66DC}"/>
    <dgm:cxn modelId="{A27AE808-ED16-4BA0-80ED-3CD77393F362}" type="presOf" srcId="{4488291A-BD94-4685-A34F-B885F3B8EFAD}" destId="{F96EBAB5-2385-44A0-9DAE-378482389753}" srcOrd="0" destOrd="0" presId="urn:microsoft.com/office/officeart/2005/8/layout/hList1"/>
    <dgm:cxn modelId="{F4583B0B-FE2D-471F-B716-AB3C8F7E260E}" type="presOf" srcId="{7D531FA8-26FB-40E8-8E51-E296BACB2531}" destId="{E09FF709-B9A1-467B-BBF8-2127A63B2EF3}" srcOrd="0" destOrd="1" presId="urn:microsoft.com/office/officeart/2005/8/layout/hList1"/>
    <dgm:cxn modelId="{8F227D1D-3E15-4530-A8D2-9A1136C20165}" srcId="{2DC141A4-B592-435C-823C-677788188CBD}" destId="{223E87BF-8BFA-4539-B616-ECF59C7A60AB}" srcOrd="0" destOrd="0" parTransId="{6673230B-FBEF-4439-B2A7-4E383CCD7B9A}" sibTransId="{4BBBD690-4134-49AB-AC0C-39A005EB0B05}"/>
    <dgm:cxn modelId="{D5A34E1F-52AD-4011-B776-8E924B9860CE}" srcId="{C29D6BEC-58D3-4007-A770-E0D07CF2E858}" destId="{F6E8E447-F8CD-43F1-87DE-F74AE20E1C91}" srcOrd="0" destOrd="0" parTransId="{E4D8EC6F-60EA-4903-9AE3-265F0EC19DDD}" sibTransId="{21C90245-59AD-4456-922C-A50A5148DBF2}"/>
    <dgm:cxn modelId="{90C4CD21-11CA-40DE-9318-B075C5F30637}" srcId="{4488291A-BD94-4685-A34F-B885F3B8EFAD}" destId="{2C970401-B79F-44D8-840F-AFC1E28EEAE5}" srcOrd="0" destOrd="0" parTransId="{4B04EFF0-8494-45E6-8388-35E677B94DE7}" sibTransId="{7A00C314-1333-4C01-ACD9-D8DA13F98F78}"/>
    <dgm:cxn modelId="{96A7E434-769E-4217-B5B9-5739971C8736}" srcId="{2DC141A4-B592-435C-823C-677788188CBD}" destId="{7D531FA8-26FB-40E8-8E51-E296BACB2531}" srcOrd="1" destOrd="0" parTransId="{6BB0F509-FF30-4DCA-9060-AF24BAB8AA60}" sibTransId="{E3D22D90-1931-4C1B-AA8B-D22F38EAF7EE}"/>
    <dgm:cxn modelId="{98A37D3F-22D3-4CCE-B649-E1E1CF9CD3D3}" type="presOf" srcId="{F6E8E447-F8CD-43F1-87DE-F74AE20E1C91}" destId="{5A01AD50-A4BE-433F-882C-7262AEE7DECE}" srcOrd="0" destOrd="0" presId="urn:microsoft.com/office/officeart/2005/8/layout/hList1"/>
    <dgm:cxn modelId="{49066C5E-F7F8-4D41-A9B0-879B89924034}" srcId="{5B06EB90-98C5-4859-922A-0B07742D82AD}" destId="{4488291A-BD94-4685-A34F-B885F3B8EFAD}" srcOrd="2" destOrd="0" parTransId="{B714127B-1401-4012-8F90-450026D014FF}" sibTransId="{8656FD64-C920-4C1A-B228-DDB0A8E05BB7}"/>
    <dgm:cxn modelId="{1CA39881-138E-41EA-BB96-894798BBCD12}" type="presOf" srcId="{5B06EB90-98C5-4859-922A-0B07742D82AD}" destId="{0FEB684E-E113-451E-B492-3E45F5FEF5C1}" srcOrd="0" destOrd="0" presId="urn:microsoft.com/office/officeart/2005/8/layout/hList1"/>
    <dgm:cxn modelId="{068B1487-BE63-4CD8-B1CB-1E8B0E6BA304}" type="presOf" srcId="{C29D6BEC-58D3-4007-A770-E0D07CF2E858}" destId="{B77136BE-66B6-43CA-ABD3-5EC058011C77}" srcOrd="0" destOrd="0" presId="urn:microsoft.com/office/officeart/2005/8/layout/hList1"/>
    <dgm:cxn modelId="{655D3A8C-1716-4C44-9DFB-AB28E97A56E8}" srcId="{5B06EB90-98C5-4859-922A-0B07742D82AD}" destId="{C29D6BEC-58D3-4007-A770-E0D07CF2E858}" srcOrd="0" destOrd="0" parTransId="{FD113CBC-AF41-4DDD-A93A-E07E64820BFB}" sibTransId="{234ECDCA-080C-43A2-ACFE-8CED12658805}"/>
    <dgm:cxn modelId="{60BDF19D-8E01-4B88-A143-C9B491DCF4A7}" type="presOf" srcId="{223E87BF-8BFA-4539-B616-ECF59C7A60AB}" destId="{E09FF709-B9A1-467B-BBF8-2127A63B2EF3}" srcOrd="0" destOrd="0" presId="urn:microsoft.com/office/officeart/2005/8/layout/hList1"/>
    <dgm:cxn modelId="{B4F2A0A0-F964-4629-98CA-479BF3672F8A}" type="presOf" srcId="{2DC141A4-B592-435C-823C-677788188CBD}" destId="{88EAAD68-E779-4ABE-A5DA-0983BBEBC27F}" srcOrd="0" destOrd="0" presId="urn:microsoft.com/office/officeart/2005/8/layout/hList1"/>
    <dgm:cxn modelId="{4132BDD7-42F2-41F0-B4C1-9B296DE1ACCC}" srcId="{5B06EB90-98C5-4859-922A-0B07742D82AD}" destId="{2DC141A4-B592-435C-823C-677788188CBD}" srcOrd="1" destOrd="0" parTransId="{5826039D-93BE-4C3C-BF14-BA91B7E8A1CC}" sibTransId="{C216D1D6-3A84-44F9-B1FF-E74F77D90E6D}"/>
    <dgm:cxn modelId="{B980AFF4-5341-4964-947A-C2B7621780CF}" type="presOf" srcId="{D4BEA0F3-CE19-48A9-A8C5-5635AF03EA29}" destId="{205221B7-809E-408A-8761-924C5606E944}" srcOrd="0" destOrd="1" presId="urn:microsoft.com/office/officeart/2005/8/layout/hList1"/>
    <dgm:cxn modelId="{BB5564F9-BB3F-415F-A10D-623EE3B23EF4}" type="presOf" srcId="{2C970401-B79F-44D8-840F-AFC1E28EEAE5}" destId="{205221B7-809E-408A-8761-924C5606E944}" srcOrd="0" destOrd="0" presId="urn:microsoft.com/office/officeart/2005/8/layout/hList1"/>
    <dgm:cxn modelId="{D97C9317-AD02-4843-8462-F819EEA020D1}" type="presParOf" srcId="{0FEB684E-E113-451E-B492-3E45F5FEF5C1}" destId="{17481383-1DBB-4595-AEFE-D8D1DA23F699}" srcOrd="0" destOrd="0" presId="urn:microsoft.com/office/officeart/2005/8/layout/hList1"/>
    <dgm:cxn modelId="{26D787A4-BCA7-4C97-91F5-B5E47AF92833}" type="presParOf" srcId="{17481383-1DBB-4595-AEFE-D8D1DA23F699}" destId="{B77136BE-66B6-43CA-ABD3-5EC058011C77}" srcOrd="0" destOrd="0" presId="urn:microsoft.com/office/officeart/2005/8/layout/hList1"/>
    <dgm:cxn modelId="{3AB0497B-2687-46FA-BFFF-FE871218D475}" type="presParOf" srcId="{17481383-1DBB-4595-AEFE-D8D1DA23F699}" destId="{5A01AD50-A4BE-433F-882C-7262AEE7DECE}" srcOrd="1" destOrd="0" presId="urn:microsoft.com/office/officeart/2005/8/layout/hList1"/>
    <dgm:cxn modelId="{B37A859C-D025-445F-ACE7-5590B554155C}" type="presParOf" srcId="{0FEB684E-E113-451E-B492-3E45F5FEF5C1}" destId="{60AC7C03-037F-4D1B-9634-D54EE3C5640B}" srcOrd="1" destOrd="0" presId="urn:microsoft.com/office/officeart/2005/8/layout/hList1"/>
    <dgm:cxn modelId="{9851FD7B-DBEE-4733-B43F-D6F198696F1F}" type="presParOf" srcId="{0FEB684E-E113-451E-B492-3E45F5FEF5C1}" destId="{ECE42E4D-E658-4135-AE0B-4C8C74A989ED}" srcOrd="2" destOrd="0" presId="urn:microsoft.com/office/officeart/2005/8/layout/hList1"/>
    <dgm:cxn modelId="{3C591530-62E1-455B-9E26-109D4D4D5F01}" type="presParOf" srcId="{ECE42E4D-E658-4135-AE0B-4C8C74A989ED}" destId="{88EAAD68-E779-4ABE-A5DA-0983BBEBC27F}" srcOrd="0" destOrd="0" presId="urn:microsoft.com/office/officeart/2005/8/layout/hList1"/>
    <dgm:cxn modelId="{90568BE7-54FF-416C-812B-2D11D2A6A51F}" type="presParOf" srcId="{ECE42E4D-E658-4135-AE0B-4C8C74A989ED}" destId="{E09FF709-B9A1-467B-BBF8-2127A63B2EF3}" srcOrd="1" destOrd="0" presId="urn:microsoft.com/office/officeart/2005/8/layout/hList1"/>
    <dgm:cxn modelId="{3ACE37C1-716D-4FC0-83BD-169AC563D6D9}" type="presParOf" srcId="{0FEB684E-E113-451E-B492-3E45F5FEF5C1}" destId="{9C741542-FC0D-4FA2-8EF6-9DC8D76C0ADD}" srcOrd="3" destOrd="0" presId="urn:microsoft.com/office/officeart/2005/8/layout/hList1"/>
    <dgm:cxn modelId="{A52010F5-A39F-4DBD-AB51-754C276C562D}" type="presParOf" srcId="{0FEB684E-E113-451E-B492-3E45F5FEF5C1}" destId="{16AA0DCF-6F46-4C2E-80CE-761D09CFA840}" srcOrd="4" destOrd="0" presId="urn:microsoft.com/office/officeart/2005/8/layout/hList1"/>
    <dgm:cxn modelId="{F9BF39FF-DE9E-4F6B-9C4D-51BB60053705}" type="presParOf" srcId="{16AA0DCF-6F46-4C2E-80CE-761D09CFA840}" destId="{F96EBAB5-2385-44A0-9DAE-378482389753}" srcOrd="0" destOrd="0" presId="urn:microsoft.com/office/officeart/2005/8/layout/hList1"/>
    <dgm:cxn modelId="{19131225-399A-4DC6-B9B6-77DFBE7A291F}" type="presParOf" srcId="{16AA0DCF-6F46-4C2E-80CE-761D09CFA840}" destId="{205221B7-809E-408A-8761-924C5606E94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main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5A8BE3A-9990-4232-8912-110E6E121807}" type="doc">
      <dgm:prSet loTypeId="urn:microsoft.com/office/officeart/2005/8/layout/defaul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0486EE9A-3E6E-43FB-AD24-21CD026C9C41}" type="parTrans" cxnId="{5A5DBFC5-F5BD-4526-BB7C-1AF7F61E0828}">
      <dgm:prSet/>
      <dgm:spPr/>
      <dgm:t>
        <a:bodyPr/>
        <a:lstStyle/>
        <a:p>
          <a:endParaRPr lang="en-US"/>
        </a:p>
      </dgm:t>
    </dgm:pt>
    <dgm:pt modelId="{30B572C5-5221-4FD0-8E3E-DC053333C8C3}">
      <dgm:prSet custT="1"/>
      <dgm:spPr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Età (40 anni e oltre)</a:t>
          </a:r>
          <a:endParaRPr lang="en-US"/>
        </a:p>
      </dgm:t>
    </dgm:pt>
    <dgm:pt modelId="{C98A1F1B-A0C7-43B9-9E01-A003135CB10F}" type="sibTrans" cxnId="{5A5DBFC5-F5BD-4526-BB7C-1AF7F61E0828}">
      <dgm:prSet/>
      <dgm:spPr/>
      <dgm:t>
        <a:bodyPr/>
        <a:lstStyle/>
        <a:p>
          <a:endParaRPr lang="en-US"/>
        </a:p>
      </dgm:t>
    </dgm:pt>
    <dgm:pt modelId="{C650762C-5077-45D8-90A5-966139F10F0D}" type="parTrans" cxnId="{3EB567F8-2228-44DA-B322-F3FC0E169E6A}">
      <dgm:prSet/>
      <dgm:spPr/>
      <dgm:t>
        <a:bodyPr/>
        <a:lstStyle/>
        <a:p>
          <a:endParaRPr lang="en-US"/>
        </a:p>
      </dgm:t>
    </dgm:pt>
    <dgm:pt modelId="{84B79948-5B19-4C78-9BA7-00828FCB7C0C}">
      <dgm:prSet custT="1"/>
      <dgm:spPr>
        <a:solidFill>
          <a:schemeClr val="accent1">
            <a:shade val="80000"/>
            <a:hueOff val="24660"/>
            <a:satOff val="470"/>
            <a:lumOff val="207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Razza/colore</a:t>
          </a:r>
          <a:endParaRPr lang="en-US"/>
        </a:p>
      </dgm:t>
    </dgm:pt>
    <dgm:pt modelId="{B0A30908-0AEB-414E-B9D4-8F235A79FC3D}" type="sibTrans" cxnId="{3EB567F8-2228-44DA-B322-F3FC0E169E6A}">
      <dgm:prSet/>
      <dgm:spPr/>
      <dgm:t>
        <a:bodyPr/>
        <a:lstStyle/>
        <a:p>
          <a:endParaRPr lang="en-US"/>
        </a:p>
      </dgm:t>
    </dgm:pt>
    <dgm:pt modelId="{265C025C-70C6-4FA8-99B2-955218BA8D42}" type="parTrans" cxnId="{6486ACBE-ACDA-4295-B517-438C04C77A72}">
      <dgm:prSet/>
      <dgm:spPr/>
      <dgm:t>
        <a:bodyPr/>
        <a:lstStyle/>
        <a:p>
          <a:endParaRPr lang="en-US"/>
        </a:p>
      </dgm:t>
    </dgm:pt>
    <dgm:pt modelId="{AA483315-E412-498F-B60E-0DFFBECDA905}">
      <dgm:prSet custT="1"/>
      <dgm:spPr>
        <a:solidFill>
          <a:schemeClr val="accent1">
            <a:shade val="80000"/>
            <a:hueOff val="49321"/>
            <a:satOff val="941"/>
            <a:lumOff val="41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Origine nazionale/Cittadinanza</a:t>
          </a:r>
          <a:endParaRPr lang="en-US"/>
        </a:p>
      </dgm:t>
    </dgm:pt>
    <dgm:pt modelId="{1D3EF33A-9E18-4617-9552-E7C811B5A57C}" type="sibTrans" cxnId="{6486ACBE-ACDA-4295-B517-438C04C77A72}">
      <dgm:prSet/>
      <dgm:spPr/>
      <dgm:t>
        <a:bodyPr/>
        <a:lstStyle/>
        <a:p>
          <a:endParaRPr lang="en-US"/>
        </a:p>
      </dgm:t>
    </dgm:pt>
    <dgm:pt modelId="{E697FD85-26BA-4676-826E-0DDA05BB8786}" type="parTrans" cxnId="{0F44F83C-1FEE-4DDB-9184-419C045C2CE4}">
      <dgm:prSet/>
      <dgm:spPr/>
      <dgm:t>
        <a:bodyPr/>
        <a:lstStyle/>
        <a:p>
          <a:endParaRPr lang="en-US"/>
        </a:p>
      </dgm:t>
    </dgm:pt>
    <dgm:pt modelId="{1A32B718-F6E8-49ED-B712-04CBBA6EA4EA}">
      <dgm:prSet custT="1"/>
      <dgm:spPr>
        <a:solidFill>
          <a:schemeClr val="accent1">
            <a:shade val="80000"/>
            <a:hueOff val="73981"/>
            <a:satOff val="1411"/>
            <a:lumOff val="623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nformazioni genetiche</a:t>
          </a:r>
          <a:endParaRPr lang="en-US"/>
        </a:p>
      </dgm:t>
    </dgm:pt>
    <dgm:pt modelId="{2AC6CF8D-EA7B-4E6B-AAA0-36E8122C0BAF}" type="sibTrans" cxnId="{0F44F83C-1FEE-4DDB-9184-419C045C2CE4}">
      <dgm:prSet/>
      <dgm:spPr/>
      <dgm:t>
        <a:bodyPr/>
        <a:lstStyle/>
        <a:p>
          <a:endParaRPr lang="en-US"/>
        </a:p>
      </dgm:t>
    </dgm:pt>
    <dgm:pt modelId="{71FB683F-DBE8-4F7D-BA4C-BDE8C98C24ED}" type="parTrans" cxnId="{48BA02FD-855E-43CC-BD44-FAEE6F0E70CA}">
      <dgm:prSet/>
      <dgm:spPr/>
      <dgm:t>
        <a:bodyPr/>
        <a:lstStyle/>
        <a:p>
          <a:endParaRPr lang="en-US"/>
        </a:p>
      </dgm:t>
    </dgm:pt>
    <dgm:pt modelId="{8E97A603-FEBF-4B61-9C74-AEF3D1F4B7BC}">
      <dgm:prSet custT="1"/>
      <dgm:spPr>
        <a:solidFill>
          <a:schemeClr val="accent1">
            <a:shade val="80000"/>
            <a:hueOff val="98641"/>
            <a:satOff val="1882"/>
            <a:lumOff val="831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Lingua</a:t>
          </a:r>
          <a:endParaRPr lang="en-US"/>
        </a:p>
      </dgm:t>
    </dgm:pt>
    <dgm:pt modelId="{8F0B935F-DBF3-4CCD-BF3C-D39AF35CD421}" type="sibTrans" cxnId="{48BA02FD-855E-43CC-BD44-FAEE6F0E70CA}">
      <dgm:prSet/>
      <dgm:spPr/>
      <dgm:t>
        <a:bodyPr/>
        <a:lstStyle/>
        <a:p>
          <a:endParaRPr lang="en-US"/>
        </a:p>
      </dgm:t>
    </dgm:pt>
    <dgm:pt modelId="{2B5865D3-CFDB-4A67-A55A-89F722393BB5}" type="parTrans" cxnId="{35277F51-7D96-4DA2-985F-E33FF3D13DA0}">
      <dgm:prSet/>
      <dgm:spPr/>
      <dgm:t>
        <a:bodyPr/>
        <a:lstStyle/>
        <a:p>
          <a:endParaRPr lang="en-US"/>
        </a:p>
      </dgm:t>
    </dgm:pt>
    <dgm:pt modelId="{BA24A286-25D9-46BA-BE57-54676FA1E3DF}">
      <dgm:prSet custT="1"/>
      <dgm:spPr>
        <a:solidFill>
          <a:schemeClr val="accent1">
            <a:shade val="80000"/>
            <a:hueOff val="123302"/>
            <a:satOff val="2352"/>
            <a:lumOff val="1038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Religione o convinzione</a:t>
          </a:r>
          <a:endParaRPr lang="en-US"/>
        </a:p>
      </dgm:t>
    </dgm:pt>
    <dgm:pt modelId="{A34CF339-3BCF-4C8D-A48C-3B167F1D3083}" type="sibTrans" cxnId="{35277F51-7D96-4DA2-985F-E33FF3D13DA0}">
      <dgm:prSet/>
      <dgm:spPr/>
      <dgm:t>
        <a:bodyPr/>
        <a:lstStyle/>
        <a:p>
          <a:endParaRPr lang="en-US"/>
        </a:p>
      </dgm:t>
    </dgm:pt>
    <dgm:pt modelId="{8B8931D4-C5B0-4122-874C-804A44376DD5}" type="parTrans" cxnId="{6CEC4069-31CA-45D3-91A5-3883E5A7E3C4}">
      <dgm:prSet/>
      <dgm:spPr/>
      <dgm:t>
        <a:bodyPr/>
        <a:lstStyle/>
        <a:p>
          <a:endParaRPr lang="en-US"/>
        </a:p>
      </dgm:t>
    </dgm:pt>
    <dgm:pt modelId="{D0895D99-5AA0-4CCE-8B73-FE41472C79C3}">
      <dgm:prSet custT="1"/>
      <dgm:spPr>
        <a:solidFill>
          <a:schemeClr val="accent1">
            <a:shade val="80000"/>
            <a:hueOff val="147962"/>
            <a:satOff val="2823"/>
            <a:lumOff val="1246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dee politiche o sindacali</a:t>
          </a:r>
          <a:endParaRPr lang="en-US"/>
        </a:p>
      </dgm:t>
    </dgm:pt>
    <dgm:pt modelId="{4A32E3D9-A3F8-4709-A336-BCF80D717EB0}" type="sibTrans" cxnId="{6CEC4069-31CA-45D3-91A5-3883E5A7E3C4}">
      <dgm:prSet/>
      <dgm:spPr/>
      <dgm:t>
        <a:bodyPr/>
        <a:lstStyle/>
        <a:p>
          <a:endParaRPr lang="en-US"/>
        </a:p>
      </dgm:t>
    </dgm:pt>
    <dgm:pt modelId="{D6F1117D-7524-408D-A5EE-39AD838EE339}" type="parTrans" cxnId="{2B4E3899-D93A-4F1A-8DC7-0D4E3F5343E7}">
      <dgm:prSet/>
      <dgm:spPr/>
      <dgm:t>
        <a:bodyPr/>
        <a:lstStyle/>
        <a:p>
          <a:endParaRPr lang="en-US"/>
        </a:p>
      </dgm:t>
    </dgm:pt>
    <dgm:pt modelId="{96179C8C-1DD2-46BA-9583-4CA22832C5E1}">
      <dgm:prSet custT="1"/>
      <dgm:spPr>
        <a:solidFill>
          <a:schemeClr val="accent1">
            <a:shade val="80000"/>
            <a:hueOff val="172622"/>
            <a:satOff val="3293"/>
            <a:lumOff val="1454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tato veterano</a:t>
          </a:r>
          <a:endParaRPr lang="en-US"/>
        </a:p>
      </dgm:t>
    </dgm:pt>
    <dgm:pt modelId="{5DC5A7CA-3518-405F-8121-71430A94FFBC}" type="sibTrans" cxnId="{2B4E3899-D93A-4F1A-8DC7-0D4E3F5343E7}">
      <dgm:prSet/>
      <dgm:spPr/>
      <dgm:t>
        <a:bodyPr/>
        <a:lstStyle/>
        <a:p>
          <a:endParaRPr lang="en-US"/>
        </a:p>
      </dgm:t>
    </dgm:pt>
    <dgm:pt modelId="{AC8A5AFF-175A-4F41-AF35-DBEC5235A8A5}" type="parTrans" cxnId="{937F3C08-4E4E-4EB0-817A-06D3BFB7C219}">
      <dgm:prSet/>
      <dgm:spPr/>
      <dgm:t>
        <a:bodyPr/>
        <a:lstStyle/>
        <a:p>
          <a:endParaRPr lang="en-US"/>
        </a:p>
      </dgm:t>
    </dgm:pt>
    <dgm:pt modelId="{6CCC8163-9C03-44DC-8CD0-BE8BB1ECA829}">
      <dgm:prSet custT="1"/>
      <dgm:spPr>
        <a:solidFill>
          <a:schemeClr val="accent1">
            <a:shade val="80000"/>
            <a:hueOff val="197282"/>
            <a:satOff val="3764"/>
            <a:lumOff val="166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esso (include gravidanza/nascita)</a:t>
          </a:r>
        </a:p>
      </dgm:t>
    </dgm:pt>
    <dgm:pt modelId="{C8FCAC15-A25E-40E0-A3EB-7826ADFD9AB3}" type="sibTrans" cxnId="{937F3C08-4E4E-4EB0-817A-06D3BFB7C219}">
      <dgm:prSet/>
      <dgm:spPr/>
      <dgm:t>
        <a:bodyPr/>
        <a:lstStyle/>
        <a:p>
          <a:endParaRPr lang="en-US"/>
        </a:p>
      </dgm:t>
    </dgm:pt>
    <dgm:pt modelId="{3BA743DB-F0C7-4C18-8B32-924A3D02F4D8}" type="parTrans" cxnId="{51E713DB-264E-4388-8D1A-4BA5D9DC2DDE}">
      <dgm:prSet/>
      <dgm:spPr/>
      <dgm:t>
        <a:bodyPr/>
        <a:lstStyle/>
        <a:p>
          <a:endParaRPr lang="en-US"/>
        </a:p>
      </dgm:t>
    </dgm:pt>
    <dgm:pt modelId="{F2479D3B-5491-487C-B349-8B92252484F4}">
      <dgm:prSet custT="1"/>
      <dgm:spPr>
        <a:solidFill>
          <a:schemeClr val="accent1">
            <a:shade val="80000"/>
            <a:hueOff val="221943"/>
            <a:satOff val="4234"/>
            <a:lumOff val="1870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dentità di genere</a:t>
          </a:r>
          <a:endParaRPr lang="en-US"/>
        </a:p>
      </dgm:t>
    </dgm:pt>
    <dgm:pt modelId="{88371F9B-07F6-4868-A36C-998E067F5033}" type="sibTrans" cxnId="{51E713DB-264E-4388-8D1A-4BA5D9DC2DDE}">
      <dgm:prSet/>
      <dgm:spPr/>
      <dgm:t>
        <a:bodyPr/>
        <a:lstStyle/>
        <a:p>
          <a:endParaRPr lang="en-US"/>
        </a:p>
      </dgm:t>
    </dgm:pt>
    <dgm:pt modelId="{A7E3C7F5-9C15-4A8B-8A1C-CED1AEA2A46A}" type="parTrans" cxnId="{1BE47CBA-7C1D-4904-ABDE-8D43CF1928E0}">
      <dgm:prSet/>
      <dgm:spPr/>
      <dgm:t>
        <a:bodyPr/>
        <a:lstStyle/>
        <a:p>
          <a:endParaRPr lang="en-US"/>
        </a:p>
      </dgm:t>
    </dgm:pt>
    <dgm:pt modelId="{8F92365D-1570-436B-9D3F-98B02DFD5219}">
      <dgm:prSet custT="1"/>
      <dgm:spPr>
        <a:solidFill>
          <a:schemeClr val="accent1">
            <a:shade val="80000"/>
            <a:hueOff val="246603"/>
            <a:satOff val="4705"/>
            <a:lumOff val="2077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Disabilità fisica o mentale </a:t>
          </a:r>
          <a:endParaRPr lang="en-US"/>
        </a:p>
      </dgm:t>
    </dgm:pt>
    <dgm:pt modelId="{59892764-B9F5-4CE6-A33E-886B13C45D5C}" type="sibTrans" cxnId="{1BE47CBA-7C1D-4904-ABDE-8D43CF1928E0}">
      <dgm:prSet/>
      <dgm:spPr/>
      <dgm:t>
        <a:bodyPr/>
        <a:lstStyle/>
        <a:p>
          <a:endParaRPr lang="en-US"/>
        </a:p>
      </dgm:t>
    </dgm:pt>
    <dgm:pt modelId="{CABA8938-F305-40CB-BC7C-E6D2B75C5E50}" type="parTrans" cxnId="{FE0B5F0B-4B8C-496C-9D24-465E56B53F89}">
      <dgm:prSet/>
      <dgm:spPr/>
      <dgm:t>
        <a:bodyPr/>
        <a:lstStyle/>
        <a:p>
          <a:endParaRPr lang="en-US"/>
        </a:p>
      </dgm:t>
    </dgm:pt>
    <dgm:pt modelId="{3A4AD095-B8AF-4668-916C-D465093EA655}">
      <dgm:prSet custT="1"/>
      <dgm:spPr>
        <a:solidFill>
          <a:schemeClr val="accent1">
            <a:shade val="80000"/>
            <a:hueOff val="271263"/>
            <a:satOff val="5175"/>
            <a:lumOff val="228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Orientamento sessuale</a:t>
          </a:r>
          <a:endParaRPr lang="en-US"/>
        </a:p>
      </dgm:t>
    </dgm:pt>
    <dgm:pt modelId="{6DEF558F-1461-40A3-B660-305F6075B3AD}" type="sibTrans" cxnId="{FE0B5F0B-4B8C-496C-9D24-465E56B53F89}">
      <dgm:prSet/>
      <dgm:spPr/>
      <dgm:t>
        <a:bodyPr/>
        <a:lstStyle/>
        <a:p>
          <a:endParaRPr lang="en-US"/>
        </a:p>
      </dgm:t>
    </dgm:pt>
    <dgm:pt modelId="{15814E76-000F-4776-B97F-8B899AD44BAC}" type="pres">
      <dgm:prSet presAssocID="{A5A8BE3A-9990-4232-8912-110E6E121807}" presName="diagram" presStyleCnt="0">
        <dgm:presLayoutVars>
          <dgm:dir/>
          <dgm:resizeHandles val="exact"/>
        </dgm:presLayoutVars>
      </dgm:prSet>
      <dgm:spPr/>
    </dgm:pt>
    <dgm:pt modelId="{6956F062-E831-4C9D-8295-EBD859E85986}" type="pres">
      <dgm:prSet presAssocID="{30B572C5-5221-4FD0-8E3E-DC053333C8C3}" presName="node" presStyleLbl="node1" presStyleIdx="0" presStyleCnt="12">
        <dgm:presLayoutVars>
          <dgm:bulletEnabled val="1"/>
        </dgm:presLayoutVars>
      </dgm:prSet>
      <dgm:spPr/>
    </dgm:pt>
    <dgm:pt modelId="{83BE6824-ECE8-467C-8569-E2F8B857E995}" type="pres">
      <dgm:prSet presAssocID="{C98A1F1B-A0C7-43B9-9E01-A003135CB10F}" presName="sibTrans" presStyleCnt="0"/>
      <dgm:spPr/>
    </dgm:pt>
    <dgm:pt modelId="{314BF5E9-6D32-4139-B1EF-52F90BD3589D}" type="pres">
      <dgm:prSet presAssocID="{84B79948-5B19-4C78-9BA7-00828FCB7C0C}" presName="node" presStyleLbl="node1" presStyleIdx="1" presStyleCnt="12">
        <dgm:presLayoutVars>
          <dgm:bulletEnabled val="1"/>
        </dgm:presLayoutVars>
      </dgm:prSet>
      <dgm:spPr/>
    </dgm:pt>
    <dgm:pt modelId="{4877B61D-64F6-4AE7-BC77-59AA8DC2C961}" type="pres">
      <dgm:prSet presAssocID="{B0A30908-0AEB-414E-B9D4-8F235A79FC3D}" presName="sibTrans" presStyleCnt="0"/>
      <dgm:spPr/>
    </dgm:pt>
    <dgm:pt modelId="{65B48DC4-277D-4510-87DB-C69F1B7D6DD3}" type="pres">
      <dgm:prSet presAssocID="{AA483315-E412-498F-B60E-0DFFBECDA905}" presName="node" presStyleLbl="node1" presStyleIdx="2" presStyleCnt="12">
        <dgm:presLayoutVars>
          <dgm:bulletEnabled val="1"/>
        </dgm:presLayoutVars>
      </dgm:prSet>
      <dgm:spPr/>
    </dgm:pt>
    <dgm:pt modelId="{783803F8-6E7F-4EEA-AAD0-483B213E43F0}" type="pres">
      <dgm:prSet presAssocID="{1D3EF33A-9E18-4617-9552-E7C811B5A57C}" presName="sibTrans" presStyleCnt="0"/>
      <dgm:spPr/>
    </dgm:pt>
    <dgm:pt modelId="{C28451D7-32EE-4871-A93E-B1ABC49EF3AC}" type="pres">
      <dgm:prSet presAssocID="{1A32B718-F6E8-49ED-B712-04CBBA6EA4EA}" presName="node" presStyleLbl="node1" presStyleIdx="3" presStyleCnt="12">
        <dgm:presLayoutVars>
          <dgm:bulletEnabled val="1"/>
        </dgm:presLayoutVars>
      </dgm:prSet>
      <dgm:spPr/>
    </dgm:pt>
    <dgm:pt modelId="{A43E9D34-925F-4655-AC4B-A55B519327B9}" type="pres">
      <dgm:prSet presAssocID="{2AC6CF8D-EA7B-4E6B-AAA0-36E8122C0BAF}" presName="sibTrans" presStyleCnt="0"/>
      <dgm:spPr/>
    </dgm:pt>
    <dgm:pt modelId="{B97059E4-569B-439D-ACCE-C703E8EBB9E0}" type="pres">
      <dgm:prSet presAssocID="{8E97A603-FEBF-4B61-9C74-AEF3D1F4B7BC}" presName="node" presStyleLbl="node1" presStyleIdx="4" presStyleCnt="12">
        <dgm:presLayoutVars>
          <dgm:bulletEnabled val="1"/>
        </dgm:presLayoutVars>
      </dgm:prSet>
      <dgm:spPr/>
    </dgm:pt>
    <dgm:pt modelId="{F6EE2DDB-A1DE-4893-B327-CFE95B44129A}" type="pres">
      <dgm:prSet presAssocID="{8F0B935F-DBF3-4CCD-BF3C-D39AF35CD421}" presName="sibTrans" presStyleCnt="0"/>
      <dgm:spPr/>
    </dgm:pt>
    <dgm:pt modelId="{1C95E413-6173-413A-912F-7DA1BB34D98F}" type="pres">
      <dgm:prSet presAssocID="{BA24A286-25D9-46BA-BE57-54676FA1E3DF}" presName="node" presStyleLbl="node1" presStyleIdx="5" presStyleCnt="12">
        <dgm:presLayoutVars>
          <dgm:bulletEnabled val="1"/>
        </dgm:presLayoutVars>
      </dgm:prSet>
      <dgm:spPr/>
    </dgm:pt>
    <dgm:pt modelId="{68AC4E92-8AE2-4175-AC30-74BB205C523D}" type="pres">
      <dgm:prSet presAssocID="{A34CF339-3BCF-4C8D-A48C-3B167F1D3083}" presName="sibTrans" presStyleCnt="0"/>
      <dgm:spPr/>
    </dgm:pt>
    <dgm:pt modelId="{A26D54B5-B4E7-40E8-9B74-824A0E4BCFBB}" type="pres">
      <dgm:prSet presAssocID="{D0895D99-5AA0-4CCE-8B73-FE41472C79C3}" presName="node" presStyleLbl="node1" presStyleIdx="6" presStyleCnt="12">
        <dgm:presLayoutVars>
          <dgm:bulletEnabled val="1"/>
        </dgm:presLayoutVars>
      </dgm:prSet>
      <dgm:spPr/>
    </dgm:pt>
    <dgm:pt modelId="{68EBFB17-CAB3-420D-837A-15718F4AFEC2}" type="pres">
      <dgm:prSet presAssocID="{4A32E3D9-A3F8-4709-A336-BCF80D717EB0}" presName="sibTrans" presStyleCnt="0"/>
      <dgm:spPr/>
    </dgm:pt>
    <dgm:pt modelId="{00672C99-BC32-447E-BE26-36407AA2BDB2}" type="pres">
      <dgm:prSet presAssocID="{96179C8C-1DD2-46BA-9583-4CA22832C5E1}" presName="node" presStyleLbl="node1" presStyleIdx="7" presStyleCnt="12">
        <dgm:presLayoutVars>
          <dgm:bulletEnabled val="1"/>
        </dgm:presLayoutVars>
      </dgm:prSet>
      <dgm:spPr/>
    </dgm:pt>
    <dgm:pt modelId="{04BA77DB-C2CB-4B5C-B33C-74BA13CCFBA4}" type="pres">
      <dgm:prSet presAssocID="{5DC5A7CA-3518-405F-8121-71430A94FFBC}" presName="sibTrans" presStyleCnt="0"/>
      <dgm:spPr/>
    </dgm:pt>
    <dgm:pt modelId="{4CCD97D0-30AC-4C6D-BD06-F8D29050925E}" type="pres">
      <dgm:prSet presAssocID="{6CCC8163-9C03-44DC-8CD0-BE8BB1ECA829}" presName="node" presStyleLbl="node1" presStyleIdx="8" presStyleCnt="12">
        <dgm:presLayoutVars>
          <dgm:bulletEnabled val="1"/>
        </dgm:presLayoutVars>
      </dgm:prSet>
      <dgm:spPr/>
    </dgm:pt>
    <dgm:pt modelId="{F5570305-EA47-43E3-A112-D29B322D979B}" type="pres">
      <dgm:prSet presAssocID="{C8FCAC15-A25E-40E0-A3EB-7826ADFD9AB3}" presName="sibTrans" presStyleCnt="0"/>
      <dgm:spPr/>
    </dgm:pt>
    <dgm:pt modelId="{483AB9CE-7E99-4641-8A28-E74959ABA064}" type="pres">
      <dgm:prSet presAssocID="{F2479D3B-5491-487C-B349-8B92252484F4}" presName="node" presStyleLbl="node1" presStyleIdx="9" presStyleCnt="12">
        <dgm:presLayoutVars>
          <dgm:bulletEnabled val="1"/>
        </dgm:presLayoutVars>
      </dgm:prSet>
      <dgm:spPr/>
    </dgm:pt>
    <dgm:pt modelId="{3ED9C730-58CB-48F6-A44B-7F354F869F48}" type="pres">
      <dgm:prSet presAssocID="{88371F9B-07F6-4868-A36C-998E067F5033}" presName="sibTrans" presStyleCnt="0"/>
      <dgm:spPr/>
    </dgm:pt>
    <dgm:pt modelId="{EAD55615-8E89-44DC-83A8-7C3F87D1D88C}" type="pres">
      <dgm:prSet presAssocID="{8F92365D-1570-436B-9D3F-98B02DFD5219}" presName="node" presStyleLbl="node1" presStyleIdx="10" presStyleCnt="12">
        <dgm:presLayoutVars>
          <dgm:bulletEnabled val="1"/>
        </dgm:presLayoutVars>
      </dgm:prSet>
      <dgm:spPr/>
    </dgm:pt>
    <dgm:pt modelId="{35A960D8-ECEB-4390-9F81-F1AAB2ECC6FC}" type="pres">
      <dgm:prSet presAssocID="{59892764-B9F5-4CE6-A33E-886B13C45D5C}" presName="sibTrans" presStyleCnt="0"/>
      <dgm:spPr/>
    </dgm:pt>
    <dgm:pt modelId="{498343EC-04AC-4CAD-8B5E-ABC16ACC2F20}" type="pres">
      <dgm:prSet presAssocID="{3A4AD095-B8AF-4668-916C-D465093EA655}" presName="node" presStyleLbl="node1" presStyleIdx="11" presStyleCnt="12">
        <dgm:presLayoutVars>
          <dgm:bulletEnabled val="1"/>
        </dgm:presLayoutVars>
      </dgm:prSet>
      <dgm:spPr/>
    </dgm:pt>
  </dgm:ptLst>
  <dgm:cxnLst>
    <dgm:cxn modelId="{937F3C08-4E4E-4EB0-817A-06D3BFB7C219}" srcId="{A5A8BE3A-9990-4232-8912-110E6E121807}" destId="{6CCC8163-9C03-44DC-8CD0-BE8BB1ECA829}" srcOrd="8" destOrd="0" parTransId="{AC8A5AFF-175A-4F41-AF35-DBEC5235A8A5}" sibTransId="{C8FCAC15-A25E-40E0-A3EB-7826ADFD9AB3}"/>
    <dgm:cxn modelId="{FE0B5F0B-4B8C-496C-9D24-465E56B53F89}" srcId="{A5A8BE3A-9990-4232-8912-110E6E121807}" destId="{3A4AD095-B8AF-4668-916C-D465093EA655}" srcOrd="11" destOrd="0" parTransId="{CABA8938-F305-40CB-BC7C-E6D2B75C5E50}" sibTransId="{6DEF558F-1461-40A3-B660-305F6075B3AD}"/>
    <dgm:cxn modelId="{9836B10B-34C3-49F1-9076-C4BFB615BD8F}" type="presOf" srcId="{30B572C5-5221-4FD0-8E3E-DC053333C8C3}" destId="{6956F062-E831-4C9D-8295-EBD859E85986}" srcOrd="0" destOrd="0" presId="urn:microsoft.com/office/officeart/2005/8/layout/default"/>
    <dgm:cxn modelId="{EBAFA425-D106-4617-8760-441324FE0D70}" type="presOf" srcId="{6CCC8163-9C03-44DC-8CD0-BE8BB1ECA829}" destId="{4CCD97D0-30AC-4C6D-BD06-F8D29050925E}" srcOrd="0" destOrd="0" presId="urn:microsoft.com/office/officeart/2005/8/layout/default"/>
    <dgm:cxn modelId="{5AFAFB33-3A2B-4A3D-B703-956470F4DC9F}" type="presOf" srcId="{A5A8BE3A-9990-4232-8912-110E6E121807}" destId="{15814E76-000F-4776-B97F-8B899AD44BAC}" srcOrd="0" destOrd="0" presId="urn:microsoft.com/office/officeart/2005/8/layout/default"/>
    <dgm:cxn modelId="{0F44F83C-1FEE-4DDB-9184-419C045C2CE4}" srcId="{A5A8BE3A-9990-4232-8912-110E6E121807}" destId="{1A32B718-F6E8-49ED-B712-04CBBA6EA4EA}" srcOrd="3" destOrd="0" parTransId="{E697FD85-26BA-4676-826E-0DDA05BB8786}" sibTransId="{2AC6CF8D-EA7B-4E6B-AAA0-36E8122C0BAF}"/>
    <dgm:cxn modelId="{D4ED7041-1402-48CA-A0A5-78A96460CF7B}" type="presOf" srcId="{84B79948-5B19-4C78-9BA7-00828FCB7C0C}" destId="{314BF5E9-6D32-4139-B1EF-52F90BD3589D}" srcOrd="0" destOrd="0" presId="urn:microsoft.com/office/officeart/2005/8/layout/default"/>
    <dgm:cxn modelId="{6CEC4069-31CA-45D3-91A5-3883E5A7E3C4}" srcId="{A5A8BE3A-9990-4232-8912-110E6E121807}" destId="{D0895D99-5AA0-4CCE-8B73-FE41472C79C3}" srcOrd="6" destOrd="0" parTransId="{8B8931D4-C5B0-4122-874C-804A44376DD5}" sibTransId="{4A32E3D9-A3F8-4709-A336-BCF80D717EB0}"/>
    <dgm:cxn modelId="{35277F51-7D96-4DA2-985F-E33FF3D13DA0}" srcId="{A5A8BE3A-9990-4232-8912-110E6E121807}" destId="{BA24A286-25D9-46BA-BE57-54676FA1E3DF}" srcOrd="5" destOrd="0" parTransId="{2B5865D3-CFDB-4A67-A55A-89F722393BB5}" sibTransId="{A34CF339-3BCF-4C8D-A48C-3B167F1D3083}"/>
    <dgm:cxn modelId="{A96F7190-3B0F-4B99-A76E-A99FC4E24BD9}" type="presOf" srcId="{BA24A286-25D9-46BA-BE57-54676FA1E3DF}" destId="{1C95E413-6173-413A-912F-7DA1BB34D98F}" srcOrd="0" destOrd="0" presId="urn:microsoft.com/office/officeart/2005/8/layout/default"/>
    <dgm:cxn modelId="{5B0B4A91-0878-4B38-8C93-DB86233182B6}" type="presOf" srcId="{D0895D99-5AA0-4CCE-8B73-FE41472C79C3}" destId="{A26D54B5-B4E7-40E8-9B74-824A0E4BCFBB}" srcOrd="0" destOrd="0" presId="urn:microsoft.com/office/officeart/2005/8/layout/default"/>
    <dgm:cxn modelId="{2B4E3899-D93A-4F1A-8DC7-0D4E3F5343E7}" srcId="{A5A8BE3A-9990-4232-8912-110E6E121807}" destId="{96179C8C-1DD2-46BA-9583-4CA22832C5E1}" srcOrd="7" destOrd="0" parTransId="{D6F1117D-7524-408D-A5EE-39AD838EE339}" sibTransId="{5DC5A7CA-3518-405F-8121-71430A94FFBC}"/>
    <dgm:cxn modelId="{F5FB24A9-D5E9-42E1-9E61-41DB68B4B809}" type="presOf" srcId="{1A32B718-F6E8-49ED-B712-04CBBA6EA4EA}" destId="{C28451D7-32EE-4871-A93E-B1ABC49EF3AC}" srcOrd="0" destOrd="0" presId="urn:microsoft.com/office/officeart/2005/8/layout/default"/>
    <dgm:cxn modelId="{EBC640B3-A1BA-4E22-B0DE-8FA92F7F136B}" type="presOf" srcId="{3A4AD095-B8AF-4668-916C-D465093EA655}" destId="{498343EC-04AC-4CAD-8B5E-ABC16ACC2F20}" srcOrd="0" destOrd="0" presId="urn:microsoft.com/office/officeart/2005/8/layout/default"/>
    <dgm:cxn modelId="{1BE47CBA-7C1D-4904-ABDE-8D43CF1928E0}" srcId="{A5A8BE3A-9990-4232-8912-110E6E121807}" destId="{8F92365D-1570-436B-9D3F-98B02DFD5219}" srcOrd="10" destOrd="0" parTransId="{A7E3C7F5-9C15-4A8B-8A1C-CED1AEA2A46A}" sibTransId="{59892764-B9F5-4CE6-A33E-886B13C45D5C}"/>
    <dgm:cxn modelId="{0D6BA2BE-6C14-4D16-B521-5670DD9D7C19}" type="presOf" srcId="{AA483315-E412-498F-B60E-0DFFBECDA905}" destId="{65B48DC4-277D-4510-87DB-C69F1B7D6DD3}" srcOrd="0" destOrd="0" presId="urn:microsoft.com/office/officeart/2005/8/layout/default"/>
    <dgm:cxn modelId="{6486ACBE-ACDA-4295-B517-438C04C77A72}" srcId="{A5A8BE3A-9990-4232-8912-110E6E121807}" destId="{AA483315-E412-498F-B60E-0DFFBECDA905}" srcOrd="2" destOrd="0" parTransId="{265C025C-70C6-4FA8-99B2-955218BA8D42}" sibTransId="{1D3EF33A-9E18-4617-9552-E7C811B5A57C}"/>
    <dgm:cxn modelId="{79FC11BF-74AC-43DF-A7EC-5F1456257E43}" type="presOf" srcId="{8F92365D-1570-436B-9D3F-98B02DFD5219}" destId="{EAD55615-8E89-44DC-83A8-7C3F87D1D88C}" srcOrd="0" destOrd="0" presId="urn:microsoft.com/office/officeart/2005/8/layout/default"/>
    <dgm:cxn modelId="{5A5DBFC5-F5BD-4526-BB7C-1AF7F61E0828}" srcId="{A5A8BE3A-9990-4232-8912-110E6E121807}" destId="{30B572C5-5221-4FD0-8E3E-DC053333C8C3}" srcOrd="0" destOrd="0" parTransId="{0486EE9A-3E6E-43FB-AD24-21CD026C9C41}" sibTransId="{C98A1F1B-A0C7-43B9-9E01-A003135CB10F}"/>
    <dgm:cxn modelId="{51E713DB-264E-4388-8D1A-4BA5D9DC2DDE}" srcId="{A5A8BE3A-9990-4232-8912-110E6E121807}" destId="{F2479D3B-5491-487C-B349-8B92252484F4}" srcOrd="9" destOrd="0" parTransId="{3BA743DB-F0C7-4C18-8B32-924A3D02F4D8}" sibTransId="{88371F9B-07F6-4868-A36C-998E067F5033}"/>
    <dgm:cxn modelId="{512CECDD-2019-44ED-B6D3-B1A4FD701A91}" type="presOf" srcId="{96179C8C-1DD2-46BA-9583-4CA22832C5E1}" destId="{00672C99-BC32-447E-BE26-36407AA2BDB2}" srcOrd="0" destOrd="0" presId="urn:microsoft.com/office/officeart/2005/8/layout/default"/>
    <dgm:cxn modelId="{E45766F4-26C7-48E8-95B0-174E8B3DAC50}" type="presOf" srcId="{F2479D3B-5491-487C-B349-8B92252484F4}" destId="{483AB9CE-7E99-4641-8A28-E74959ABA064}" srcOrd="0" destOrd="0" presId="urn:microsoft.com/office/officeart/2005/8/layout/default"/>
    <dgm:cxn modelId="{3EB567F8-2228-44DA-B322-F3FC0E169E6A}" srcId="{A5A8BE3A-9990-4232-8912-110E6E121807}" destId="{84B79948-5B19-4C78-9BA7-00828FCB7C0C}" srcOrd="1" destOrd="0" parTransId="{C650762C-5077-45D8-90A5-966139F10F0D}" sibTransId="{B0A30908-0AEB-414E-B9D4-8F235A79FC3D}"/>
    <dgm:cxn modelId="{411AA2F9-10ED-4B6E-B007-9AAC90C09F88}" type="presOf" srcId="{8E97A603-FEBF-4B61-9C74-AEF3D1F4B7BC}" destId="{B97059E4-569B-439D-ACCE-C703E8EBB9E0}" srcOrd="0" destOrd="0" presId="urn:microsoft.com/office/officeart/2005/8/layout/default"/>
    <dgm:cxn modelId="{48BA02FD-855E-43CC-BD44-FAEE6F0E70CA}" srcId="{A5A8BE3A-9990-4232-8912-110E6E121807}" destId="{8E97A603-FEBF-4B61-9C74-AEF3D1F4B7BC}" srcOrd="4" destOrd="0" parTransId="{71FB683F-DBE8-4F7D-BA4C-BDE8C98C24ED}" sibTransId="{8F0B935F-DBF3-4CCD-BF3C-D39AF35CD421}"/>
    <dgm:cxn modelId="{61EA5D3B-DBB1-4DA1-B7EA-399B68BBC102}" type="presParOf" srcId="{15814E76-000F-4776-B97F-8B899AD44BAC}" destId="{6956F062-E831-4C9D-8295-EBD859E85986}" srcOrd="0" destOrd="0" presId="urn:microsoft.com/office/officeart/2005/8/layout/default"/>
    <dgm:cxn modelId="{A8A9C759-2F77-47D8-BC8D-8C0B65750A6C}" type="presParOf" srcId="{15814E76-000F-4776-B97F-8B899AD44BAC}" destId="{83BE6824-ECE8-467C-8569-E2F8B857E995}" srcOrd="1" destOrd="0" presId="urn:microsoft.com/office/officeart/2005/8/layout/default"/>
    <dgm:cxn modelId="{B0A42DCB-8572-4C2F-A411-D4579F48795D}" type="presParOf" srcId="{15814E76-000F-4776-B97F-8B899AD44BAC}" destId="{314BF5E9-6D32-4139-B1EF-52F90BD3589D}" srcOrd="2" destOrd="0" presId="urn:microsoft.com/office/officeart/2005/8/layout/default"/>
    <dgm:cxn modelId="{BBB8EFB7-1A55-4A37-B0CF-77DEC3369BD5}" type="presParOf" srcId="{15814E76-000F-4776-B97F-8B899AD44BAC}" destId="{4877B61D-64F6-4AE7-BC77-59AA8DC2C961}" srcOrd="3" destOrd="0" presId="urn:microsoft.com/office/officeart/2005/8/layout/default"/>
    <dgm:cxn modelId="{05E1568C-395A-4605-BB84-749D25F0C677}" type="presParOf" srcId="{15814E76-000F-4776-B97F-8B899AD44BAC}" destId="{65B48DC4-277D-4510-87DB-C69F1B7D6DD3}" srcOrd="4" destOrd="0" presId="urn:microsoft.com/office/officeart/2005/8/layout/default"/>
    <dgm:cxn modelId="{1E3B4E0F-09F3-41A7-9B30-E2CCC36BE543}" type="presParOf" srcId="{15814E76-000F-4776-B97F-8B899AD44BAC}" destId="{783803F8-6E7F-4EEA-AAD0-483B213E43F0}" srcOrd="5" destOrd="0" presId="urn:microsoft.com/office/officeart/2005/8/layout/default"/>
    <dgm:cxn modelId="{40A1FFBB-A3A7-47A8-B2C0-3280C2BF6479}" type="presParOf" srcId="{15814E76-000F-4776-B97F-8B899AD44BAC}" destId="{C28451D7-32EE-4871-A93E-B1ABC49EF3AC}" srcOrd="6" destOrd="0" presId="urn:microsoft.com/office/officeart/2005/8/layout/default"/>
    <dgm:cxn modelId="{6D6C71DD-8F25-43E5-B8EB-BA9909694374}" type="presParOf" srcId="{15814E76-000F-4776-B97F-8B899AD44BAC}" destId="{A43E9D34-925F-4655-AC4B-A55B519327B9}" srcOrd="7" destOrd="0" presId="urn:microsoft.com/office/officeart/2005/8/layout/default"/>
    <dgm:cxn modelId="{D7573688-3F77-45AF-A64F-5191BBAC63CC}" type="presParOf" srcId="{15814E76-000F-4776-B97F-8B899AD44BAC}" destId="{B97059E4-569B-439D-ACCE-C703E8EBB9E0}" srcOrd="8" destOrd="0" presId="urn:microsoft.com/office/officeart/2005/8/layout/default"/>
    <dgm:cxn modelId="{ED6CF038-4EEE-48C6-AC8D-D6CC35AD40A6}" type="presParOf" srcId="{15814E76-000F-4776-B97F-8B899AD44BAC}" destId="{F6EE2DDB-A1DE-4893-B327-CFE95B44129A}" srcOrd="9" destOrd="0" presId="urn:microsoft.com/office/officeart/2005/8/layout/default"/>
    <dgm:cxn modelId="{C26A7FD9-E7B8-4BD9-9C7D-CAFB312D94E1}" type="presParOf" srcId="{15814E76-000F-4776-B97F-8B899AD44BAC}" destId="{1C95E413-6173-413A-912F-7DA1BB34D98F}" srcOrd="10" destOrd="0" presId="urn:microsoft.com/office/officeart/2005/8/layout/default"/>
    <dgm:cxn modelId="{60B29FEE-53F8-4180-AC3F-ACAE97A4BCC9}" type="presParOf" srcId="{15814E76-000F-4776-B97F-8B899AD44BAC}" destId="{68AC4E92-8AE2-4175-AC30-74BB205C523D}" srcOrd="11" destOrd="0" presId="urn:microsoft.com/office/officeart/2005/8/layout/default"/>
    <dgm:cxn modelId="{44BEABD6-B7AE-4224-9470-F7014CF575D0}" type="presParOf" srcId="{15814E76-000F-4776-B97F-8B899AD44BAC}" destId="{A26D54B5-B4E7-40E8-9B74-824A0E4BCFBB}" srcOrd="12" destOrd="0" presId="urn:microsoft.com/office/officeart/2005/8/layout/default"/>
    <dgm:cxn modelId="{9C92E713-9681-4E2C-BC80-6C1D9A9CFEAC}" type="presParOf" srcId="{15814E76-000F-4776-B97F-8B899AD44BAC}" destId="{68EBFB17-CAB3-420D-837A-15718F4AFEC2}" srcOrd="13" destOrd="0" presId="urn:microsoft.com/office/officeart/2005/8/layout/default"/>
    <dgm:cxn modelId="{4E06A454-E636-40B7-A31B-38EF56B7A555}" type="presParOf" srcId="{15814E76-000F-4776-B97F-8B899AD44BAC}" destId="{00672C99-BC32-447E-BE26-36407AA2BDB2}" srcOrd="14" destOrd="0" presId="urn:microsoft.com/office/officeart/2005/8/layout/default"/>
    <dgm:cxn modelId="{51809071-8BFD-4387-807C-5E18FB5F08C1}" type="presParOf" srcId="{15814E76-000F-4776-B97F-8B899AD44BAC}" destId="{04BA77DB-C2CB-4B5C-B33C-74BA13CCFBA4}" srcOrd="15" destOrd="0" presId="urn:microsoft.com/office/officeart/2005/8/layout/default"/>
    <dgm:cxn modelId="{6A7B2530-CE90-4C76-B273-D9F5FDE7D79A}" type="presParOf" srcId="{15814E76-000F-4776-B97F-8B899AD44BAC}" destId="{4CCD97D0-30AC-4C6D-BD06-F8D29050925E}" srcOrd="16" destOrd="0" presId="urn:microsoft.com/office/officeart/2005/8/layout/default"/>
    <dgm:cxn modelId="{6BB0B760-1676-4B55-BFA5-370E08D7FC75}" type="presParOf" srcId="{15814E76-000F-4776-B97F-8B899AD44BAC}" destId="{F5570305-EA47-43E3-A112-D29B322D979B}" srcOrd="17" destOrd="0" presId="urn:microsoft.com/office/officeart/2005/8/layout/default"/>
    <dgm:cxn modelId="{FE10839D-3ABF-4C33-BAEB-D4E67B07C1EB}" type="presParOf" srcId="{15814E76-000F-4776-B97F-8B899AD44BAC}" destId="{483AB9CE-7E99-4641-8A28-E74959ABA064}" srcOrd="18" destOrd="0" presId="urn:microsoft.com/office/officeart/2005/8/layout/default"/>
    <dgm:cxn modelId="{57E283D8-BB03-4A9B-A8CB-F20AD2FD603C}" type="presParOf" srcId="{15814E76-000F-4776-B97F-8B899AD44BAC}" destId="{3ED9C730-58CB-48F6-A44B-7F354F869F48}" srcOrd="19" destOrd="0" presId="urn:microsoft.com/office/officeart/2005/8/layout/default"/>
    <dgm:cxn modelId="{D835D3CE-7BC6-4546-A3A8-09633CA05D87}" type="presParOf" srcId="{15814E76-000F-4776-B97F-8B899AD44BAC}" destId="{EAD55615-8E89-44DC-83A8-7C3F87D1D88C}" srcOrd="20" destOrd="0" presId="urn:microsoft.com/office/officeart/2005/8/layout/default"/>
    <dgm:cxn modelId="{F89D6F01-34E0-4F3A-A922-AA7F935F494C}" type="presParOf" srcId="{15814E76-000F-4776-B97F-8B899AD44BAC}" destId="{35A960D8-ECEB-4390-9F81-F1AAB2ECC6FC}" srcOrd="21" destOrd="0" presId="urn:microsoft.com/office/officeart/2005/8/layout/default"/>
    <dgm:cxn modelId="{09324785-8537-4C3B-8923-89A09D3CC4A2}" type="presParOf" srcId="{15814E76-000F-4776-B97F-8B899AD44BAC}" destId="{498343EC-04AC-4CAD-8B5E-ABC16ACC2F20}" srcOrd="2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CDF3A72-4E7D-44E7-9126-943CBEB76C39}" type="doc">
      <dgm:prSet loTypeId="urn:microsoft.com/office/officeart/2005/8/layout/hierarchy4" loCatId="hierarchy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E90C112-028F-4005-BE5A-58F1022297C6}" type="parTrans" cxnId="{1AE9807E-BD23-4831-9CB4-EE3E84D470D7}">
      <dgm:prSet/>
      <dgm:spPr/>
      <dgm:t>
        <a:bodyPr/>
        <a:lstStyle/>
        <a:p>
          <a:endParaRPr lang="en-US"/>
        </a:p>
      </dgm:t>
    </dgm:pt>
    <dgm:pt modelId="{E709D1A9-032D-4046-915C-1A3C52F288E6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2800" b="1" i="0" u="sng" strike="noStrike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Le molestie sessuali </a:t>
          </a:r>
          <a:r>
            <a:rPr lang="it" sz="28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ono comportamenti verbali, non verbali o fisici indesiderati di natura sessuale che violano la dignità di una persona.</a:t>
          </a:r>
        </a:p>
        <a:p>
          <a:r>
            <a:rPr lang="it" sz="28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Esistono due diversi tipi di molestie sessuali:</a:t>
          </a:r>
          <a:endParaRPr lang="en-US"/>
        </a:p>
      </dgm:t>
    </dgm:pt>
    <dgm:pt modelId="{D73A1FCF-5D89-4468-800A-D8F31CB13DD3}" type="parTrans" cxnId="{22EE8F38-3F25-4BF4-A584-43CFA9A39B5C}">
      <dgm:prSet/>
      <dgm:spPr/>
      <dgm:t>
        <a:bodyPr/>
        <a:lstStyle/>
        <a:p>
          <a:endParaRPr lang="en-US"/>
        </a:p>
      </dgm:t>
    </dgm:pt>
    <dgm:pt modelId="{51D27A79-C8E2-42E1-AC9E-C97553C130EA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400" b="1" i="0" u="sng" strike="noStrike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Quid Pro Quo</a:t>
          </a:r>
          <a:endParaRPr lang="en-GB">
            <a:solidFill>
              <a:srgbClr val="FF0000"/>
            </a:solidFill>
          </a:endParaRPr>
        </a:p>
        <a:p>
          <a:r>
            <a:rPr lang="it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Quid Pro Quo è latino e significa “questo per questo” e significa basare le decisioni lavorative sul fatto che qualcuno accetti o rifiuti una condotta sessuale indesiderata.</a:t>
          </a:r>
        </a:p>
        <a:p>
          <a:r>
            <a:rPr lang="it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Può comportare una condotta sessuale, intima o romantica.</a:t>
          </a:r>
        </a:p>
        <a:p>
          <a:r>
            <a:rPr lang="it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Coinvolge sempre i manager o altri in posizioni di autorità. </a:t>
          </a:r>
          <a:endParaRPr lang="en-US"/>
        </a:p>
      </dgm:t>
    </dgm:pt>
    <dgm:pt modelId="{B9D1F81C-EB2C-4FF9-8BBE-58D3F5068E79}" type="sibTrans" cxnId="{22EE8F38-3F25-4BF4-A584-43CFA9A39B5C}">
      <dgm:prSet/>
      <dgm:spPr/>
      <dgm:t>
        <a:bodyPr/>
        <a:lstStyle/>
        <a:p>
          <a:endParaRPr lang="en-US"/>
        </a:p>
      </dgm:t>
    </dgm:pt>
    <dgm:pt modelId="{72A70C7C-CE84-4C90-BD05-A83F54C37871}" type="parTrans" cxnId="{88B158BA-FB8F-4EE5-8599-3113773C13FC}">
      <dgm:prSet/>
      <dgm:spPr/>
      <dgm:t>
        <a:bodyPr/>
        <a:lstStyle/>
        <a:p>
          <a:endParaRPr lang="en-US"/>
        </a:p>
      </dgm:t>
    </dgm:pt>
    <dgm:pt modelId="{404D2D27-F06D-476A-9332-E8BF77820EE3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400" b="1" i="0" u="sng" strike="noStrike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Ambiente di lavoro ostile</a:t>
          </a:r>
          <a:r>
            <a:rPr lang="it" sz="1400" b="0" i="0" strike="noStrike" cap="none" spc="0" baseline="0">
              <a:solidFill>
                <a:srgbClr val="FF0000"/>
              </a:solidFill>
              <a:effectLst/>
              <a:latin typeface="Calibri"/>
              <a:ea typeface="Calibri"/>
              <a:cs typeface="Calibri"/>
            </a:rPr>
            <a:t> </a:t>
          </a:r>
        </a:p>
        <a:p>
          <a:r>
            <a:rPr lang="it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dotta indesiderata che crea un ambiente di lavoro intimidatorio, ostile, degradante, umiliante o offensivo. </a:t>
          </a:r>
        </a:p>
        <a:p>
          <a:r>
            <a:rPr lang="it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uò essere un comportamento verbale, visivo, fisico, digitale o scritto. </a:t>
          </a:r>
        </a:p>
        <a:p>
          <a:r>
            <a:rPr lang="it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hiunque, non solo qualcuno in una posizione di autorità, può adottare questo tipo di condotta illecita. </a:t>
          </a:r>
          <a:endParaRPr lang="en-US"/>
        </a:p>
      </dgm:t>
    </dgm:pt>
    <dgm:pt modelId="{EED6236B-CB0B-475F-B61A-A7580C606347}" type="sibTrans" cxnId="{88B158BA-FB8F-4EE5-8599-3113773C13FC}">
      <dgm:prSet/>
      <dgm:spPr/>
      <dgm:t>
        <a:bodyPr/>
        <a:lstStyle/>
        <a:p>
          <a:endParaRPr lang="en-US"/>
        </a:p>
      </dgm:t>
    </dgm:pt>
    <dgm:pt modelId="{24DA7CF3-04CE-4B21-BB47-B688A733DCCB}" type="sibTrans" cxnId="{1AE9807E-BD23-4831-9CB4-EE3E84D470D7}">
      <dgm:prSet/>
      <dgm:spPr/>
      <dgm:t>
        <a:bodyPr/>
        <a:lstStyle/>
        <a:p>
          <a:endParaRPr lang="en-US"/>
        </a:p>
      </dgm:t>
    </dgm:pt>
    <dgm:pt modelId="{82C30EA1-251F-44D7-BE08-B40408335ACD}" type="pres">
      <dgm:prSet presAssocID="{3CDF3A72-4E7D-44E7-9126-943CBEB76C39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ABB18B46-294A-49A7-B30A-B2315553F715}" type="pres">
      <dgm:prSet presAssocID="{E709D1A9-032D-4046-915C-1A3C52F288E6}" presName="vertOne" presStyleCnt="0"/>
      <dgm:spPr/>
    </dgm:pt>
    <dgm:pt modelId="{F0682F32-5C4B-42CE-AEF9-AB56A3FF7419}" type="pres">
      <dgm:prSet presAssocID="{E709D1A9-032D-4046-915C-1A3C52F288E6}" presName="txOne" presStyleLbl="node0" presStyleIdx="0" presStyleCnt="1">
        <dgm:presLayoutVars>
          <dgm:chPref val="3"/>
        </dgm:presLayoutVars>
      </dgm:prSet>
      <dgm:spPr/>
    </dgm:pt>
    <dgm:pt modelId="{47C39050-60A1-45EB-A1DD-8FA91BF0A74E}" type="pres">
      <dgm:prSet presAssocID="{E709D1A9-032D-4046-915C-1A3C52F288E6}" presName="parTransOne" presStyleCnt="0"/>
      <dgm:spPr/>
    </dgm:pt>
    <dgm:pt modelId="{ED6B47B3-E8E0-457E-AE81-9960865A6ADF}" type="pres">
      <dgm:prSet presAssocID="{E709D1A9-032D-4046-915C-1A3C52F288E6}" presName="horzOne" presStyleCnt="0"/>
      <dgm:spPr/>
    </dgm:pt>
    <dgm:pt modelId="{15624F3B-1895-4B52-823A-54BED7D68C96}" type="pres">
      <dgm:prSet presAssocID="{51D27A79-C8E2-42E1-AC9E-C97553C130EA}" presName="vertTwo" presStyleCnt="0"/>
      <dgm:spPr/>
    </dgm:pt>
    <dgm:pt modelId="{2BBD0B2E-4BE4-48AC-A125-1761F93E54D0}" type="pres">
      <dgm:prSet presAssocID="{51D27A79-C8E2-42E1-AC9E-C97553C130EA}" presName="txTwo" presStyleLbl="node2" presStyleIdx="0" presStyleCnt="2">
        <dgm:presLayoutVars>
          <dgm:chPref val="3"/>
        </dgm:presLayoutVars>
      </dgm:prSet>
      <dgm:spPr/>
    </dgm:pt>
    <dgm:pt modelId="{B6D935AB-6C09-464B-8F9B-2DF172217FA9}" type="pres">
      <dgm:prSet presAssocID="{51D27A79-C8E2-42E1-AC9E-C97553C130EA}" presName="horzTwo" presStyleCnt="0"/>
      <dgm:spPr/>
    </dgm:pt>
    <dgm:pt modelId="{B06879F3-AC6C-40F1-8DBB-CF135CEB9770}" type="pres">
      <dgm:prSet presAssocID="{B9D1F81C-EB2C-4FF9-8BBE-58D3F5068E79}" presName="sibSpaceTwo" presStyleCnt="0"/>
      <dgm:spPr/>
    </dgm:pt>
    <dgm:pt modelId="{0B186A5D-5DB3-4AF4-BCA8-CD369901CAD6}" type="pres">
      <dgm:prSet presAssocID="{404D2D27-F06D-476A-9332-E8BF77820EE3}" presName="vertTwo" presStyleCnt="0"/>
      <dgm:spPr/>
    </dgm:pt>
    <dgm:pt modelId="{88F1ABA4-3573-4291-80C5-CCCD060891F4}" type="pres">
      <dgm:prSet presAssocID="{404D2D27-F06D-476A-9332-E8BF77820EE3}" presName="txTwo" presStyleLbl="node2" presStyleIdx="1" presStyleCnt="2">
        <dgm:presLayoutVars>
          <dgm:chPref val="3"/>
        </dgm:presLayoutVars>
      </dgm:prSet>
      <dgm:spPr/>
    </dgm:pt>
    <dgm:pt modelId="{8B56421F-E0C0-4619-AA40-3517D4B3DB3B}" type="pres">
      <dgm:prSet presAssocID="{404D2D27-F06D-476A-9332-E8BF77820EE3}" presName="horzTwo" presStyleCnt="0"/>
      <dgm:spPr/>
    </dgm:pt>
  </dgm:ptLst>
  <dgm:cxnLst>
    <dgm:cxn modelId="{76CCC505-E927-484B-B71D-186D87C15485}" type="presOf" srcId="{3CDF3A72-4E7D-44E7-9126-943CBEB76C39}" destId="{82C30EA1-251F-44D7-BE08-B40408335ACD}" srcOrd="0" destOrd="0" presId="urn:microsoft.com/office/officeart/2005/8/layout/hierarchy4"/>
    <dgm:cxn modelId="{22EE8F38-3F25-4BF4-A584-43CFA9A39B5C}" srcId="{E709D1A9-032D-4046-915C-1A3C52F288E6}" destId="{51D27A79-C8E2-42E1-AC9E-C97553C130EA}" srcOrd="0" destOrd="0" parTransId="{D73A1FCF-5D89-4468-800A-D8F31CB13DD3}" sibTransId="{B9D1F81C-EB2C-4FF9-8BBE-58D3F5068E79}"/>
    <dgm:cxn modelId="{6A1A364A-9FC4-4F54-BA14-2A3732954DFA}" type="presOf" srcId="{E709D1A9-032D-4046-915C-1A3C52F288E6}" destId="{F0682F32-5C4B-42CE-AEF9-AB56A3FF7419}" srcOrd="0" destOrd="0" presId="urn:microsoft.com/office/officeart/2005/8/layout/hierarchy4"/>
    <dgm:cxn modelId="{1AE9807E-BD23-4831-9CB4-EE3E84D470D7}" srcId="{3CDF3A72-4E7D-44E7-9126-943CBEB76C39}" destId="{E709D1A9-032D-4046-915C-1A3C52F288E6}" srcOrd="0" destOrd="0" parTransId="{CE90C112-028F-4005-BE5A-58F1022297C6}" sibTransId="{24DA7CF3-04CE-4B21-BB47-B688A733DCCB}"/>
    <dgm:cxn modelId="{E752FF85-CF19-4F62-AF93-9E7164861618}" type="presOf" srcId="{404D2D27-F06D-476A-9332-E8BF77820EE3}" destId="{88F1ABA4-3573-4291-80C5-CCCD060891F4}" srcOrd="0" destOrd="0" presId="urn:microsoft.com/office/officeart/2005/8/layout/hierarchy4"/>
    <dgm:cxn modelId="{A0ECD293-DE89-43A5-9701-67AFEA2E0FCD}" type="presOf" srcId="{51D27A79-C8E2-42E1-AC9E-C97553C130EA}" destId="{2BBD0B2E-4BE4-48AC-A125-1761F93E54D0}" srcOrd="0" destOrd="0" presId="urn:microsoft.com/office/officeart/2005/8/layout/hierarchy4"/>
    <dgm:cxn modelId="{88B158BA-FB8F-4EE5-8599-3113773C13FC}" srcId="{E709D1A9-032D-4046-915C-1A3C52F288E6}" destId="{404D2D27-F06D-476A-9332-E8BF77820EE3}" srcOrd="1" destOrd="0" parTransId="{72A70C7C-CE84-4C90-BD05-A83F54C37871}" sibTransId="{EED6236B-CB0B-475F-B61A-A7580C606347}"/>
    <dgm:cxn modelId="{599F818D-FF87-4AD6-B7BE-E4935B7050DC}" type="presParOf" srcId="{82C30EA1-251F-44D7-BE08-B40408335ACD}" destId="{ABB18B46-294A-49A7-B30A-B2315553F715}" srcOrd="0" destOrd="0" presId="urn:microsoft.com/office/officeart/2005/8/layout/hierarchy4"/>
    <dgm:cxn modelId="{B096BB40-ABD2-414D-B0F8-B7AB203A83E0}" type="presParOf" srcId="{ABB18B46-294A-49A7-B30A-B2315553F715}" destId="{F0682F32-5C4B-42CE-AEF9-AB56A3FF7419}" srcOrd="0" destOrd="0" presId="urn:microsoft.com/office/officeart/2005/8/layout/hierarchy4"/>
    <dgm:cxn modelId="{0E5BAE0C-F3AE-4ACD-BE7F-38535FEB91F3}" type="presParOf" srcId="{ABB18B46-294A-49A7-B30A-B2315553F715}" destId="{47C39050-60A1-45EB-A1DD-8FA91BF0A74E}" srcOrd="1" destOrd="0" presId="urn:microsoft.com/office/officeart/2005/8/layout/hierarchy4"/>
    <dgm:cxn modelId="{ADEF1AD3-B1BC-4E7B-B082-CF83F3440FE6}" type="presParOf" srcId="{ABB18B46-294A-49A7-B30A-B2315553F715}" destId="{ED6B47B3-E8E0-457E-AE81-9960865A6ADF}" srcOrd="2" destOrd="0" presId="urn:microsoft.com/office/officeart/2005/8/layout/hierarchy4"/>
    <dgm:cxn modelId="{C99E67A8-963E-4F4F-9B8F-BD8E2B715952}" type="presParOf" srcId="{ED6B47B3-E8E0-457E-AE81-9960865A6ADF}" destId="{15624F3B-1895-4B52-823A-54BED7D68C96}" srcOrd="0" destOrd="0" presId="urn:microsoft.com/office/officeart/2005/8/layout/hierarchy4"/>
    <dgm:cxn modelId="{622E67E4-270D-4A4A-86EC-12A5EEA547D9}" type="presParOf" srcId="{15624F3B-1895-4B52-823A-54BED7D68C96}" destId="{2BBD0B2E-4BE4-48AC-A125-1761F93E54D0}" srcOrd="0" destOrd="0" presId="urn:microsoft.com/office/officeart/2005/8/layout/hierarchy4"/>
    <dgm:cxn modelId="{80D5E4C1-22FF-44C6-B8AC-D27B2C68D0B6}" type="presParOf" srcId="{15624F3B-1895-4B52-823A-54BED7D68C96}" destId="{B6D935AB-6C09-464B-8F9B-2DF172217FA9}" srcOrd="1" destOrd="0" presId="urn:microsoft.com/office/officeart/2005/8/layout/hierarchy4"/>
    <dgm:cxn modelId="{3CA1D093-BDCE-40E4-B9CA-31504FB78E30}" type="presParOf" srcId="{ED6B47B3-E8E0-457E-AE81-9960865A6ADF}" destId="{B06879F3-AC6C-40F1-8DBB-CF135CEB9770}" srcOrd="1" destOrd="0" presId="urn:microsoft.com/office/officeart/2005/8/layout/hierarchy4"/>
    <dgm:cxn modelId="{BE43A738-F251-441F-A503-AE64937997B3}" type="presParOf" srcId="{ED6B47B3-E8E0-457E-AE81-9960865A6ADF}" destId="{0B186A5D-5DB3-4AF4-BCA8-CD369901CAD6}" srcOrd="2" destOrd="0" presId="urn:microsoft.com/office/officeart/2005/8/layout/hierarchy4"/>
    <dgm:cxn modelId="{2483BEF5-6081-4C70-928A-65F76FC0CD8B}" type="presParOf" srcId="{0B186A5D-5DB3-4AF4-BCA8-CD369901CAD6}" destId="{88F1ABA4-3573-4291-80C5-CCCD060891F4}" srcOrd="0" destOrd="0" presId="urn:microsoft.com/office/officeart/2005/8/layout/hierarchy4"/>
    <dgm:cxn modelId="{9A932481-A4B3-49CF-B3DC-38C011AAFEA4}" type="presParOf" srcId="{0B186A5D-5DB3-4AF4-BCA8-CD369901CAD6}" destId="{8B56421F-E0C0-4619-AA40-3517D4B3DB3B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8179FEE-AD99-4ACA-935F-5EA74350364A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CEB55FE-D4C3-4C96-A765-B1B2DE801E09}" type="parTrans" cxnId="{5C47FC56-1E31-4E5C-83D0-4706293DC995}">
      <dgm:prSet/>
      <dgm:spPr/>
      <dgm:t>
        <a:bodyPr/>
        <a:lstStyle/>
        <a:p>
          <a:endParaRPr lang="en-US"/>
        </a:p>
      </dgm:t>
    </dgm:pt>
    <dgm:pt modelId="{285BBEBE-0734-4A0A-AC7C-BCC18058FA1C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32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Un ambiente di lavoro ostile può comprendere:</a:t>
          </a:r>
          <a:endParaRPr lang="en-US"/>
        </a:p>
      </dgm:t>
    </dgm:pt>
    <dgm:pt modelId="{42D87832-43F4-4BBA-AC18-2696167CC65A}" type="parTrans" cxnId="{503D29B6-9F0E-41F8-BF6E-5E3205956D5A}">
      <dgm:prSet/>
      <dgm:spPr/>
      <dgm:t>
        <a:bodyPr/>
        <a:lstStyle/>
        <a:p>
          <a:endParaRPr lang="en-US"/>
        </a:p>
      </dgm:t>
    </dgm:pt>
    <dgm:pt modelId="{30D3E5F8-452C-48F4-8796-2E567C55EECB}">
      <dgm:prSet custT="1"/>
      <dgm:spPr>
        <a:noFill/>
        <a:ln>
          <a:noFill/>
        </a:ln>
      </dgm:spPr>
      <dgm:t>
        <a:bodyPr/>
        <a:lstStyle/>
        <a:p>
          <a:r>
            <a:rPr lang="it" sz="25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Un singolo incidente grave</a:t>
          </a:r>
          <a:endParaRPr lang="en-US"/>
        </a:p>
      </dgm:t>
    </dgm:pt>
    <dgm:pt modelId="{295691BB-E9F3-4CE3-9494-876350D324AA}" type="sibTrans" cxnId="{503D29B6-9F0E-41F8-BF6E-5E3205956D5A}">
      <dgm:prSet/>
      <dgm:spPr/>
      <dgm:t>
        <a:bodyPr/>
        <a:lstStyle/>
        <a:p>
          <a:endParaRPr lang="en-US"/>
        </a:p>
      </dgm:t>
    </dgm:pt>
    <dgm:pt modelId="{579DADD7-F02E-4DDF-A6ED-B478DE045EC5}" type="parTrans" cxnId="{C7963298-D8C5-4CB0-BF65-16F6B480F837}">
      <dgm:prSet/>
      <dgm:spPr/>
      <dgm:t>
        <a:bodyPr/>
        <a:lstStyle/>
        <a:p>
          <a:endParaRPr lang="en-US"/>
        </a:p>
      </dgm:t>
    </dgm:pt>
    <dgm:pt modelId="{5642C7EE-3FA5-48FC-90AC-17A317932B02}">
      <dgm:prSet custT="1"/>
      <dgm:spPr>
        <a:noFill/>
        <a:ln>
          <a:noFill/>
        </a:ln>
      </dgm:spPr>
      <dgm:t>
        <a:bodyPr/>
        <a:lstStyle/>
        <a:p>
          <a:r>
            <a:rPr lang="it" sz="2500" b="0" i="0" strike="noStrike" cap="none" spc="0" baseline="0" dirty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Un modello di incidenti più piccoli che si accumulano nel tempo</a:t>
          </a:r>
          <a:endParaRPr lang="en-US" dirty="0"/>
        </a:p>
      </dgm:t>
    </dgm:pt>
    <dgm:pt modelId="{E3775CD1-D340-4E93-990E-06E64EF14947}" type="sibTrans" cxnId="{C7963298-D8C5-4CB0-BF65-16F6B480F837}">
      <dgm:prSet/>
      <dgm:spPr/>
      <dgm:t>
        <a:bodyPr/>
        <a:lstStyle/>
        <a:p>
          <a:endParaRPr lang="en-US"/>
        </a:p>
      </dgm:t>
    </dgm:pt>
    <dgm:pt modelId="{CD81B35C-B2B0-4868-BBD5-6826E5EEF160}" type="sibTrans" cxnId="{5C47FC56-1E31-4E5C-83D0-4706293DC995}">
      <dgm:prSet/>
      <dgm:spPr/>
      <dgm:t>
        <a:bodyPr/>
        <a:lstStyle/>
        <a:p>
          <a:endParaRPr lang="en-US"/>
        </a:p>
      </dgm:t>
    </dgm:pt>
    <dgm:pt modelId="{189A9E5F-C66B-4AAA-B987-7459E9AD8F08}" type="parTrans" cxnId="{695F8643-0A4C-45EA-8972-7416F580AC86}">
      <dgm:prSet/>
      <dgm:spPr/>
      <dgm:t>
        <a:bodyPr/>
        <a:lstStyle/>
        <a:p>
          <a:endParaRPr lang="en-US"/>
        </a:p>
      </dgm:t>
    </dgm:pt>
    <dgm:pt modelId="{BF4022B4-D80B-461E-98CB-999DC58D8A83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32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Un modello di condotta può essere invisibile agli altri </a:t>
          </a:r>
          <a:endParaRPr lang="en-US"/>
        </a:p>
      </dgm:t>
    </dgm:pt>
    <dgm:pt modelId="{B70CA4F2-DAD3-4114-9B42-94805D0B5735}" type="sibTrans" cxnId="{695F8643-0A4C-45EA-8972-7416F580AC86}">
      <dgm:prSet/>
      <dgm:spPr/>
      <dgm:t>
        <a:bodyPr/>
        <a:lstStyle/>
        <a:p>
          <a:endParaRPr lang="en-US"/>
        </a:p>
      </dgm:t>
    </dgm:pt>
    <dgm:pt modelId="{3BF44B03-DF2D-4D64-A3F2-5799B0E59223}" type="pres">
      <dgm:prSet presAssocID="{98179FEE-AD99-4ACA-935F-5EA74350364A}" presName="linear" presStyleCnt="0">
        <dgm:presLayoutVars>
          <dgm:animLvl val="lvl"/>
          <dgm:resizeHandles val="exact"/>
        </dgm:presLayoutVars>
      </dgm:prSet>
      <dgm:spPr/>
    </dgm:pt>
    <dgm:pt modelId="{9348B920-B1E0-4886-9BA5-B1554C666682}" type="pres">
      <dgm:prSet presAssocID="{285BBEBE-0734-4A0A-AC7C-BCC18058FA1C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7652FA92-FF02-4F9E-A627-EE14DD86AB00}" type="pres">
      <dgm:prSet presAssocID="{285BBEBE-0734-4A0A-AC7C-BCC18058FA1C}" presName="childText" presStyleLbl="revTx" presStyleIdx="0" presStyleCnt="1">
        <dgm:presLayoutVars>
          <dgm:bulletEnabled val="1"/>
        </dgm:presLayoutVars>
      </dgm:prSet>
      <dgm:spPr/>
    </dgm:pt>
    <dgm:pt modelId="{33BCEC26-C14D-4C1B-A0A8-57892C4646B9}" type="pres">
      <dgm:prSet presAssocID="{BF4022B4-D80B-461E-98CB-999DC58D8A83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5620BC19-690C-47F2-8CD7-492020F5E2D1}" type="presOf" srcId="{98179FEE-AD99-4ACA-935F-5EA74350364A}" destId="{3BF44B03-DF2D-4D64-A3F2-5799B0E59223}" srcOrd="0" destOrd="0" presId="urn:microsoft.com/office/officeart/2005/8/layout/vList2"/>
    <dgm:cxn modelId="{695F8643-0A4C-45EA-8972-7416F580AC86}" srcId="{98179FEE-AD99-4ACA-935F-5EA74350364A}" destId="{BF4022B4-D80B-461E-98CB-999DC58D8A83}" srcOrd="1" destOrd="0" parTransId="{189A9E5F-C66B-4AAA-B987-7459E9AD8F08}" sibTransId="{B70CA4F2-DAD3-4114-9B42-94805D0B5735}"/>
    <dgm:cxn modelId="{D0BDE375-27BC-48A7-A158-E3B8CC925354}" type="presOf" srcId="{5642C7EE-3FA5-48FC-90AC-17A317932B02}" destId="{7652FA92-FF02-4F9E-A627-EE14DD86AB00}" srcOrd="0" destOrd="1" presId="urn:microsoft.com/office/officeart/2005/8/layout/vList2"/>
    <dgm:cxn modelId="{5C47FC56-1E31-4E5C-83D0-4706293DC995}" srcId="{98179FEE-AD99-4ACA-935F-5EA74350364A}" destId="{285BBEBE-0734-4A0A-AC7C-BCC18058FA1C}" srcOrd="0" destOrd="0" parTransId="{9CEB55FE-D4C3-4C96-A765-B1B2DE801E09}" sibTransId="{CD81B35C-B2B0-4868-BBD5-6826E5EEF160}"/>
    <dgm:cxn modelId="{9CF74897-2FE7-449B-9351-D68BBBEAF220}" type="presOf" srcId="{BF4022B4-D80B-461E-98CB-999DC58D8A83}" destId="{33BCEC26-C14D-4C1B-A0A8-57892C4646B9}" srcOrd="0" destOrd="0" presId="urn:microsoft.com/office/officeart/2005/8/layout/vList2"/>
    <dgm:cxn modelId="{C7963298-D8C5-4CB0-BF65-16F6B480F837}" srcId="{285BBEBE-0734-4A0A-AC7C-BCC18058FA1C}" destId="{5642C7EE-3FA5-48FC-90AC-17A317932B02}" srcOrd="1" destOrd="0" parTransId="{579DADD7-F02E-4DDF-A6ED-B478DE045EC5}" sibTransId="{E3775CD1-D340-4E93-990E-06E64EF14947}"/>
    <dgm:cxn modelId="{503D29B6-9F0E-41F8-BF6E-5E3205956D5A}" srcId="{285BBEBE-0734-4A0A-AC7C-BCC18058FA1C}" destId="{30D3E5F8-452C-48F4-8796-2E567C55EECB}" srcOrd="0" destOrd="0" parTransId="{42D87832-43F4-4BBA-AC18-2696167CC65A}" sibTransId="{295691BB-E9F3-4CE3-9494-876350D324AA}"/>
    <dgm:cxn modelId="{875A19C6-C4E9-4B43-B6FF-2A09FB497AB1}" type="presOf" srcId="{285BBEBE-0734-4A0A-AC7C-BCC18058FA1C}" destId="{9348B920-B1E0-4886-9BA5-B1554C666682}" srcOrd="0" destOrd="0" presId="urn:microsoft.com/office/officeart/2005/8/layout/vList2"/>
    <dgm:cxn modelId="{41DEB2DF-B907-43F9-A589-6C91898F9443}" type="presOf" srcId="{30D3E5F8-452C-48F4-8796-2E567C55EECB}" destId="{7652FA92-FF02-4F9E-A627-EE14DD86AB00}" srcOrd="0" destOrd="0" presId="urn:microsoft.com/office/officeart/2005/8/layout/vList2"/>
    <dgm:cxn modelId="{22208AF5-33F5-429E-BEA4-C09A4FF36C91}" type="presParOf" srcId="{3BF44B03-DF2D-4D64-A3F2-5799B0E59223}" destId="{9348B920-B1E0-4886-9BA5-B1554C666682}" srcOrd="0" destOrd="0" presId="urn:microsoft.com/office/officeart/2005/8/layout/vList2"/>
    <dgm:cxn modelId="{1F83A69E-BF26-454C-BB16-EDE52AF34E0A}" type="presParOf" srcId="{3BF44B03-DF2D-4D64-A3F2-5799B0E59223}" destId="{7652FA92-FF02-4F9E-A627-EE14DD86AB00}" srcOrd="1" destOrd="0" presId="urn:microsoft.com/office/officeart/2005/8/layout/vList2"/>
    <dgm:cxn modelId="{66EA7F65-B32B-41DF-9774-8D8AF0D711CC}" type="presParOf" srcId="{3BF44B03-DF2D-4D64-A3F2-5799B0E59223}" destId="{33BCEC26-C14D-4C1B-A0A8-57892C4646B9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58039EE-AE95-403B-AC13-37ADF24CD098}" type="doc">
      <dgm:prSet loTypeId="urn:microsoft.com/office/officeart/2009/3/layout/HorizontalOrganizationChart" loCatId="hierarchy" qsTypeId="urn:microsoft.com/office/officeart/2005/8/quickstyle/simple4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1A2282E7-E75F-4CBB-B6CA-E288DAE36888}" type="parTrans" cxnId="{903A2F05-203D-4E16-9F9F-FF9C2A84F18E}">
      <dgm:prSet/>
      <dgm:spPr/>
      <dgm:t>
        <a:bodyPr/>
        <a:lstStyle/>
        <a:p>
          <a:endParaRPr lang="en-US"/>
        </a:p>
      </dgm:t>
    </dgm:pt>
    <dgm:pt modelId="{4EC82B13-A762-48C6-B64B-E54C118DD79C}">
      <dgm:prSet custT="1"/>
      <dgm:spPr/>
      <dgm:t>
        <a:bodyPr/>
        <a:lstStyle/>
        <a:p>
          <a:r>
            <a:rPr lang="it" sz="32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Gli stereotipi di genere sono idee preconcette su come qualcuno dovrebbe essere, agire o comportarsi in base al proprio sesso. </a:t>
          </a:r>
          <a:endParaRPr lang="en-US" sz="3200"/>
        </a:p>
      </dgm:t>
    </dgm:pt>
    <dgm:pt modelId="{CB7DC1B6-385A-4B8E-BF6A-03802530089F}" type="sibTrans" cxnId="{903A2F05-203D-4E16-9F9F-FF9C2A84F18E}">
      <dgm:prSet/>
      <dgm:spPr/>
      <dgm:t>
        <a:bodyPr/>
        <a:lstStyle/>
        <a:p>
          <a:endParaRPr lang="en-US"/>
        </a:p>
      </dgm:t>
    </dgm:pt>
    <dgm:pt modelId="{988ADC6B-3C2E-4E0C-89A0-794AD8D901E9}" type="parTrans" cxnId="{CCF0E324-A971-4129-8B3C-EA5D9DD14D18}">
      <dgm:prSet/>
      <dgm:spPr/>
      <dgm:t>
        <a:bodyPr/>
        <a:lstStyle/>
        <a:p>
          <a:endParaRPr lang="en-US"/>
        </a:p>
      </dgm:t>
    </dgm:pt>
    <dgm:pt modelId="{C0B314DE-8C9A-4622-9124-4EAC4C631C63}">
      <dgm:prSet custT="1"/>
      <dgm:spPr/>
      <dgm:t>
        <a:bodyPr/>
        <a:lstStyle/>
        <a:p>
          <a:r>
            <a:rPr lang="it" sz="32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Ad esempio: Chiedi </a:t>
          </a:r>
          <a:r>
            <a:rPr lang="it" sz="3200" b="0" i="0" u="sng" strike="noStrike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solo</a:t>
          </a:r>
          <a:r>
            <a:rPr lang="it" sz="32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alle dipendenti di prendere caffè e snack per la sala conferenze per il prossimo incontro.</a:t>
          </a:r>
          <a:endParaRPr lang="en-US" sz="3200"/>
        </a:p>
      </dgm:t>
    </dgm:pt>
    <dgm:pt modelId="{A52C1081-60BD-40F3-8777-F01D735B8ADD}" type="sibTrans" cxnId="{CCF0E324-A971-4129-8B3C-EA5D9DD14D18}">
      <dgm:prSet/>
      <dgm:spPr/>
      <dgm:t>
        <a:bodyPr/>
        <a:lstStyle/>
        <a:p>
          <a:endParaRPr lang="en-US"/>
        </a:p>
      </dgm:t>
    </dgm:pt>
    <dgm:pt modelId="{D897512D-1C5A-425D-A4CA-5FD67064C449}" type="pres">
      <dgm:prSet presAssocID="{F58039EE-AE95-403B-AC13-37ADF24CD09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2A15FFC2-0A3D-49A0-A616-0230EDFF10F9}" type="pres">
      <dgm:prSet presAssocID="{4EC82B13-A762-48C6-B64B-E54C118DD79C}" presName="hierRoot1" presStyleCnt="0">
        <dgm:presLayoutVars>
          <dgm:hierBranch val="init"/>
        </dgm:presLayoutVars>
      </dgm:prSet>
      <dgm:spPr/>
    </dgm:pt>
    <dgm:pt modelId="{19D8EA44-4891-4876-A3FD-75C069271127}" type="pres">
      <dgm:prSet presAssocID="{4EC82B13-A762-48C6-B64B-E54C118DD79C}" presName="rootComposite1" presStyleCnt="0"/>
      <dgm:spPr/>
    </dgm:pt>
    <dgm:pt modelId="{4EDE4789-F2C4-48F7-AD1A-1BC4182425B9}" type="pres">
      <dgm:prSet presAssocID="{4EC82B13-A762-48C6-B64B-E54C118DD79C}" presName="rootText1" presStyleLbl="node0" presStyleIdx="0" presStyleCnt="2">
        <dgm:presLayoutVars>
          <dgm:chPref val="3"/>
        </dgm:presLayoutVars>
      </dgm:prSet>
      <dgm:spPr/>
    </dgm:pt>
    <dgm:pt modelId="{5C8871E6-F55F-4AAC-9444-953BDC8BFF40}" type="pres">
      <dgm:prSet presAssocID="{4EC82B13-A762-48C6-B64B-E54C118DD79C}" presName="rootConnector1" presStyleLbl="node1" presStyleIdx="0" presStyleCnt="0"/>
      <dgm:spPr/>
    </dgm:pt>
    <dgm:pt modelId="{21E6A1A2-09CA-4457-8704-98B51B2825B1}" type="pres">
      <dgm:prSet presAssocID="{4EC82B13-A762-48C6-B64B-E54C118DD79C}" presName="hierChild2" presStyleCnt="0"/>
      <dgm:spPr/>
    </dgm:pt>
    <dgm:pt modelId="{08E6EC52-31E3-4246-B7D1-AE148E6A9594}" type="pres">
      <dgm:prSet presAssocID="{4EC82B13-A762-48C6-B64B-E54C118DD79C}" presName="hierChild3" presStyleCnt="0"/>
      <dgm:spPr/>
    </dgm:pt>
    <dgm:pt modelId="{641A1FB8-31EA-4400-89B2-B84BF9876F04}" type="pres">
      <dgm:prSet presAssocID="{C0B314DE-8C9A-4622-9124-4EAC4C631C63}" presName="hierRoot1" presStyleCnt="0">
        <dgm:presLayoutVars>
          <dgm:hierBranch val="init"/>
        </dgm:presLayoutVars>
      </dgm:prSet>
      <dgm:spPr/>
    </dgm:pt>
    <dgm:pt modelId="{2215DDD9-40C1-42ED-8100-DA0EF97500ED}" type="pres">
      <dgm:prSet presAssocID="{C0B314DE-8C9A-4622-9124-4EAC4C631C63}" presName="rootComposite1" presStyleCnt="0"/>
      <dgm:spPr/>
    </dgm:pt>
    <dgm:pt modelId="{C106FE37-78FC-4B91-AB63-2959EC40C132}" type="pres">
      <dgm:prSet presAssocID="{C0B314DE-8C9A-4622-9124-4EAC4C631C63}" presName="rootText1" presStyleLbl="node0" presStyleIdx="1" presStyleCnt="2">
        <dgm:presLayoutVars>
          <dgm:chPref val="3"/>
        </dgm:presLayoutVars>
      </dgm:prSet>
      <dgm:spPr/>
    </dgm:pt>
    <dgm:pt modelId="{860FFD42-6009-4881-8CA6-B334DA9A8178}" type="pres">
      <dgm:prSet presAssocID="{C0B314DE-8C9A-4622-9124-4EAC4C631C63}" presName="rootConnector1" presStyleLbl="node1" presStyleIdx="0" presStyleCnt="0"/>
      <dgm:spPr/>
    </dgm:pt>
    <dgm:pt modelId="{5CBC7A73-AC05-40F3-8431-9DC6AC782F09}" type="pres">
      <dgm:prSet presAssocID="{C0B314DE-8C9A-4622-9124-4EAC4C631C63}" presName="hierChild2" presStyleCnt="0"/>
      <dgm:spPr/>
    </dgm:pt>
    <dgm:pt modelId="{BCE2ECC5-6A04-4163-8498-00F0736A2636}" type="pres">
      <dgm:prSet presAssocID="{C0B314DE-8C9A-4622-9124-4EAC4C631C63}" presName="hierChild3" presStyleCnt="0"/>
      <dgm:spPr/>
    </dgm:pt>
  </dgm:ptLst>
  <dgm:cxnLst>
    <dgm:cxn modelId="{903A2F05-203D-4E16-9F9F-FF9C2A84F18E}" srcId="{F58039EE-AE95-403B-AC13-37ADF24CD098}" destId="{4EC82B13-A762-48C6-B64B-E54C118DD79C}" srcOrd="0" destOrd="0" parTransId="{1A2282E7-E75F-4CBB-B6CA-E288DAE36888}" sibTransId="{CB7DC1B6-385A-4B8E-BF6A-03802530089F}"/>
    <dgm:cxn modelId="{CCF0E324-A971-4129-8B3C-EA5D9DD14D18}" srcId="{F58039EE-AE95-403B-AC13-37ADF24CD098}" destId="{C0B314DE-8C9A-4622-9124-4EAC4C631C63}" srcOrd="1" destOrd="0" parTransId="{988ADC6B-3C2E-4E0C-89A0-794AD8D901E9}" sibTransId="{A52C1081-60BD-40F3-8777-F01D735B8ADD}"/>
    <dgm:cxn modelId="{0AFDAB65-D13B-4BE7-8A34-3019B71724ED}" type="presOf" srcId="{C0B314DE-8C9A-4622-9124-4EAC4C631C63}" destId="{C106FE37-78FC-4B91-AB63-2959EC40C132}" srcOrd="0" destOrd="0" presId="urn:microsoft.com/office/officeart/2009/3/layout/HorizontalOrganizationChart"/>
    <dgm:cxn modelId="{FC41716E-1896-4206-825D-1F766F362D9B}" type="presOf" srcId="{C0B314DE-8C9A-4622-9124-4EAC4C631C63}" destId="{860FFD42-6009-4881-8CA6-B334DA9A8178}" srcOrd="1" destOrd="0" presId="urn:microsoft.com/office/officeart/2009/3/layout/HorizontalOrganizationChart"/>
    <dgm:cxn modelId="{20D39F8C-04CD-4002-A2ED-B151223066B5}" type="presOf" srcId="{F58039EE-AE95-403B-AC13-37ADF24CD098}" destId="{D897512D-1C5A-425D-A4CA-5FD67064C449}" srcOrd="0" destOrd="0" presId="urn:microsoft.com/office/officeart/2009/3/layout/HorizontalOrganizationChart"/>
    <dgm:cxn modelId="{05EFAE95-F728-4BAC-BB29-727CA7B179A3}" type="presOf" srcId="{4EC82B13-A762-48C6-B64B-E54C118DD79C}" destId="{4EDE4789-F2C4-48F7-AD1A-1BC4182425B9}" srcOrd="0" destOrd="0" presId="urn:microsoft.com/office/officeart/2009/3/layout/HorizontalOrganizationChart"/>
    <dgm:cxn modelId="{7C0F76A1-B57D-42C3-8E56-EBD42D8B633B}" type="presOf" srcId="{4EC82B13-A762-48C6-B64B-E54C118DD79C}" destId="{5C8871E6-F55F-4AAC-9444-953BDC8BFF40}" srcOrd="1" destOrd="0" presId="urn:microsoft.com/office/officeart/2009/3/layout/HorizontalOrganizationChart"/>
    <dgm:cxn modelId="{CD82648B-D608-429B-A8B5-70AFF7194255}" type="presParOf" srcId="{D897512D-1C5A-425D-A4CA-5FD67064C449}" destId="{2A15FFC2-0A3D-49A0-A616-0230EDFF10F9}" srcOrd="0" destOrd="0" presId="urn:microsoft.com/office/officeart/2009/3/layout/HorizontalOrganizationChart"/>
    <dgm:cxn modelId="{59A16C3B-8098-482E-9172-66BC8FC63AF3}" type="presParOf" srcId="{2A15FFC2-0A3D-49A0-A616-0230EDFF10F9}" destId="{19D8EA44-4891-4876-A3FD-75C069271127}" srcOrd="0" destOrd="0" presId="urn:microsoft.com/office/officeart/2009/3/layout/HorizontalOrganizationChart"/>
    <dgm:cxn modelId="{22EED01C-4678-4B8A-9827-ADBC7EBD9F80}" type="presParOf" srcId="{19D8EA44-4891-4876-A3FD-75C069271127}" destId="{4EDE4789-F2C4-48F7-AD1A-1BC4182425B9}" srcOrd="0" destOrd="0" presId="urn:microsoft.com/office/officeart/2009/3/layout/HorizontalOrganizationChart"/>
    <dgm:cxn modelId="{81C6C36D-FE35-4719-873E-0E071BB28ACA}" type="presParOf" srcId="{19D8EA44-4891-4876-A3FD-75C069271127}" destId="{5C8871E6-F55F-4AAC-9444-953BDC8BFF40}" srcOrd="1" destOrd="0" presId="urn:microsoft.com/office/officeart/2009/3/layout/HorizontalOrganizationChart"/>
    <dgm:cxn modelId="{E89C6CD1-64BA-40DE-A8FB-59928D11752F}" type="presParOf" srcId="{2A15FFC2-0A3D-49A0-A616-0230EDFF10F9}" destId="{21E6A1A2-09CA-4457-8704-98B51B2825B1}" srcOrd="1" destOrd="0" presId="urn:microsoft.com/office/officeart/2009/3/layout/HorizontalOrganizationChart"/>
    <dgm:cxn modelId="{7773B4C4-3C78-4ECA-93AB-4DA1CBF2C57A}" type="presParOf" srcId="{2A15FFC2-0A3D-49A0-A616-0230EDFF10F9}" destId="{08E6EC52-31E3-4246-B7D1-AE148E6A9594}" srcOrd="2" destOrd="0" presId="urn:microsoft.com/office/officeart/2009/3/layout/HorizontalOrganizationChart"/>
    <dgm:cxn modelId="{06A8897C-F3DB-4CF9-9DA9-99889A395F9E}" type="presParOf" srcId="{D897512D-1C5A-425D-A4CA-5FD67064C449}" destId="{641A1FB8-31EA-4400-89B2-B84BF9876F04}" srcOrd="1" destOrd="0" presId="urn:microsoft.com/office/officeart/2009/3/layout/HorizontalOrganizationChart"/>
    <dgm:cxn modelId="{44306239-0E91-47A9-9873-36063D58A037}" type="presParOf" srcId="{641A1FB8-31EA-4400-89B2-B84BF9876F04}" destId="{2215DDD9-40C1-42ED-8100-DA0EF97500ED}" srcOrd="0" destOrd="0" presId="urn:microsoft.com/office/officeart/2009/3/layout/HorizontalOrganizationChart"/>
    <dgm:cxn modelId="{E6AA647C-145B-4059-8ED7-50FDFDD6E89F}" type="presParOf" srcId="{2215DDD9-40C1-42ED-8100-DA0EF97500ED}" destId="{C106FE37-78FC-4B91-AB63-2959EC40C132}" srcOrd="0" destOrd="0" presId="urn:microsoft.com/office/officeart/2009/3/layout/HorizontalOrganizationChart"/>
    <dgm:cxn modelId="{70D766B6-BD10-42A3-A769-DAA9F7CDEDC0}" type="presParOf" srcId="{2215DDD9-40C1-42ED-8100-DA0EF97500ED}" destId="{860FFD42-6009-4881-8CA6-B334DA9A8178}" srcOrd="1" destOrd="0" presId="urn:microsoft.com/office/officeart/2009/3/layout/HorizontalOrganizationChart"/>
    <dgm:cxn modelId="{0724FEE1-F32F-4724-9554-3D9677F02074}" type="presParOf" srcId="{641A1FB8-31EA-4400-89B2-B84BF9876F04}" destId="{5CBC7A73-AC05-40F3-8431-9DC6AC782F09}" srcOrd="1" destOrd="0" presId="urn:microsoft.com/office/officeart/2009/3/layout/HorizontalOrganizationChart"/>
    <dgm:cxn modelId="{BC2AB28C-E376-4064-8070-A40C9D6A1DD7}" type="presParOf" srcId="{641A1FB8-31EA-4400-89B2-B84BF9876F04}" destId="{BCE2ECC5-6A04-4163-8498-00F0736A2636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718AF86-2E83-4750-9E5F-A0B0CA96829B}" type="doc">
      <dgm:prSet loTypeId="urn:microsoft.com/office/officeart/2005/8/layout/defaul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FED36DBC-8D88-4B75-BECA-EC9BFD87DE2B}" type="parTrans" cxnId="{17A68A49-D15C-41E3-94E3-748FE3CED320}">
      <dgm:prSet/>
      <dgm:spPr/>
      <dgm:t>
        <a:bodyPr/>
        <a:lstStyle/>
        <a:p>
          <a:endParaRPr lang="en-US"/>
        </a:p>
      </dgm:t>
    </dgm:pt>
    <dgm:pt modelId="{75D565E3-8336-48C4-90E3-0C9DA6803E1C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3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upervisori</a:t>
          </a:r>
          <a:endParaRPr lang="en-US"/>
        </a:p>
      </dgm:t>
    </dgm:pt>
    <dgm:pt modelId="{7336C954-45A6-45C0-A688-FBC0481332A0}" type="sibTrans" cxnId="{17A68A49-D15C-41E3-94E3-748FE3CED320}">
      <dgm:prSet/>
      <dgm:spPr/>
      <dgm:t>
        <a:bodyPr/>
        <a:lstStyle/>
        <a:p>
          <a:endParaRPr lang="en-US"/>
        </a:p>
      </dgm:t>
    </dgm:pt>
    <dgm:pt modelId="{D6E3759B-9562-418F-A884-F46CCF2E4539}" type="parTrans" cxnId="{AF7F8837-3C30-4090-B22C-0F838EE666D6}">
      <dgm:prSet/>
      <dgm:spPr/>
      <dgm:t>
        <a:bodyPr/>
        <a:lstStyle/>
        <a:p>
          <a:endParaRPr lang="en-US"/>
        </a:p>
      </dgm:t>
    </dgm:pt>
    <dgm:pt modelId="{1B8D85C5-F2D0-42D0-A7C7-595DDFBB0B94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32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Responsabili</a:t>
          </a:r>
          <a:endParaRPr lang="en-US" sz="3200"/>
        </a:p>
      </dgm:t>
    </dgm:pt>
    <dgm:pt modelId="{B41704BC-3399-4B98-8CBB-1C82DC8134AC}" type="sibTrans" cxnId="{AF7F8837-3C30-4090-B22C-0F838EE666D6}">
      <dgm:prSet/>
      <dgm:spPr/>
      <dgm:t>
        <a:bodyPr/>
        <a:lstStyle/>
        <a:p>
          <a:endParaRPr lang="en-US"/>
        </a:p>
      </dgm:t>
    </dgm:pt>
    <dgm:pt modelId="{03350E07-5B48-4E7C-B3A5-440AC1FB5680}" type="parTrans" cxnId="{D47D3965-CF8E-49E2-A107-DF06E37B6FA9}">
      <dgm:prSet/>
      <dgm:spPr/>
      <dgm:t>
        <a:bodyPr/>
        <a:lstStyle/>
        <a:p>
          <a:endParaRPr lang="en-US"/>
        </a:p>
      </dgm:t>
    </dgm:pt>
    <dgm:pt modelId="{877A83AA-B99B-4BD8-8DEC-185197AADBB9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3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lleghi</a:t>
          </a:r>
          <a:endParaRPr lang="en-US"/>
        </a:p>
      </dgm:t>
    </dgm:pt>
    <dgm:pt modelId="{50A5F10B-C1FB-4521-826D-3C55CB839AE2}" type="sibTrans" cxnId="{D47D3965-CF8E-49E2-A107-DF06E37B6FA9}">
      <dgm:prSet/>
      <dgm:spPr/>
      <dgm:t>
        <a:bodyPr/>
        <a:lstStyle/>
        <a:p>
          <a:endParaRPr lang="en-US"/>
        </a:p>
      </dgm:t>
    </dgm:pt>
    <dgm:pt modelId="{5F02574E-EF70-4789-8A4E-C11738F6861A}" type="parTrans" cxnId="{7DC3A074-F808-464E-83D7-77636119EF8E}">
      <dgm:prSet/>
      <dgm:spPr/>
      <dgm:t>
        <a:bodyPr/>
        <a:lstStyle/>
        <a:p>
          <a:endParaRPr lang="en-US"/>
        </a:p>
      </dgm:t>
    </dgm:pt>
    <dgm:pt modelId="{2E3CAA22-643F-4AB0-A1DA-20BE5D846CFB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3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Fornitori</a:t>
          </a:r>
          <a:endParaRPr lang="en-US"/>
        </a:p>
      </dgm:t>
    </dgm:pt>
    <dgm:pt modelId="{7225BED6-EFE7-401D-8A32-EBCC85760333}" type="sibTrans" cxnId="{7DC3A074-F808-464E-83D7-77636119EF8E}">
      <dgm:prSet/>
      <dgm:spPr/>
      <dgm:t>
        <a:bodyPr/>
        <a:lstStyle/>
        <a:p>
          <a:endParaRPr lang="en-US"/>
        </a:p>
      </dgm:t>
    </dgm:pt>
    <dgm:pt modelId="{48AC272F-9CFB-4033-B69D-73E2EE0B7EC5}" type="parTrans" cxnId="{E7C7F301-BE84-45C0-836D-F76E9E1B3191}">
      <dgm:prSet/>
      <dgm:spPr/>
      <dgm:t>
        <a:bodyPr/>
        <a:lstStyle/>
        <a:p>
          <a:endParaRPr lang="en-US"/>
        </a:p>
      </dgm:t>
    </dgm:pt>
    <dgm:pt modelId="{C7781311-E474-47F5-902B-0A2B3D8FF44A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3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lienti</a:t>
          </a:r>
          <a:endParaRPr lang="en-US"/>
        </a:p>
      </dgm:t>
    </dgm:pt>
    <dgm:pt modelId="{D871D23F-569C-4FD5-AFBA-DD194F9C33FF}" type="sibTrans" cxnId="{E7C7F301-BE84-45C0-836D-F76E9E1B3191}">
      <dgm:prSet/>
      <dgm:spPr/>
      <dgm:t>
        <a:bodyPr/>
        <a:lstStyle/>
        <a:p>
          <a:endParaRPr lang="en-US"/>
        </a:p>
      </dgm:t>
    </dgm:pt>
    <dgm:pt modelId="{56D5179D-1EFA-4854-87D9-1B62387F6DC6}" type="parTrans" cxnId="{D2A06739-756D-4BEC-9F67-51E01771EAA0}">
      <dgm:prSet/>
      <dgm:spPr/>
      <dgm:t>
        <a:bodyPr/>
        <a:lstStyle/>
        <a:p>
          <a:endParaRPr lang="en-US"/>
        </a:p>
      </dgm:t>
    </dgm:pt>
    <dgm:pt modelId="{4FB763E3-8A34-4199-805A-904204A5B9E8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3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Appaltatori</a:t>
          </a:r>
          <a:endParaRPr lang="en-US"/>
        </a:p>
      </dgm:t>
    </dgm:pt>
    <dgm:pt modelId="{5D5D3307-FD81-45B6-A978-0B64D363C3ED}" type="sibTrans" cxnId="{D2A06739-756D-4BEC-9F67-51E01771EAA0}">
      <dgm:prSet/>
      <dgm:spPr/>
      <dgm:t>
        <a:bodyPr/>
        <a:lstStyle/>
        <a:p>
          <a:endParaRPr lang="en-US"/>
        </a:p>
      </dgm:t>
    </dgm:pt>
    <dgm:pt modelId="{7B6D35E6-14FC-460A-BFCD-18027F77E34D}" type="pres">
      <dgm:prSet presAssocID="{E718AF86-2E83-4750-9E5F-A0B0CA96829B}" presName="diagram" presStyleCnt="0">
        <dgm:presLayoutVars>
          <dgm:dir/>
          <dgm:resizeHandles val="exact"/>
        </dgm:presLayoutVars>
      </dgm:prSet>
      <dgm:spPr/>
    </dgm:pt>
    <dgm:pt modelId="{BF61FA31-D264-43EA-875B-A2B7B8E7012B}" type="pres">
      <dgm:prSet presAssocID="{75D565E3-8336-48C4-90E3-0C9DA6803E1C}" presName="node" presStyleLbl="node1" presStyleIdx="0" presStyleCnt="6">
        <dgm:presLayoutVars>
          <dgm:bulletEnabled val="1"/>
        </dgm:presLayoutVars>
      </dgm:prSet>
      <dgm:spPr/>
    </dgm:pt>
    <dgm:pt modelId="{3A618FCC-9271-4F94-9C7F-8E0070B1CDA1}" type="pres">
      <dgm:prSet presAssocID="{7336C954-45A6-45C0-A688-FBC0481332A0}" presName="sibTrans" presStyleCnt="0"/>
      <dgm:spPr/>
    </dgm:pt>
    <dgm:pt modelId="{4573CE03-A660-44F7-B0C8-0BF6532B8A05}" type="pres">
      <dgm:prSet presAssocID="{1B8D85C5-F2D0-42D0-A7C7-595DDFBB0B94}" presName="node" presStyleLbl="node1" presStyleIdx="1" presStyleCnt="6">
        <dgm:presLayoutVars>
          <dgm:bulletEnabled val="1"/>
        </dgm:presLayoutVars>
      </dgm:prSet>
      <dgm:spPr/>
    </dgm:pt>
    <dgm:pt modelId="{C2F10033-87C7-49C0-930D-446DCB2C20C3}" type="pres">
      <dgm:prSet presAssocID="{B41704BC-3399-4B98-8CBB-1C82DC8134AC}" presName="sibTrans" presStyleCnt="0"/>
      <dgm:spPr/>
    </dgm:pt>
    <dgm:pt modelId="{7D292785-63DD-40E5-BF38-3BDE0B2D1FB7}" type="pres">
      <dgm:prSet presAssocID="{877A83AA-B99B-4BD8-8DEC-185197AADBB9}" presName="node" presStyleLbl="node1" presStyleIdx="2" presStyleCnt="6">
        <dgm:presLayoutVars>
          <dgm:bulletEnabled val="1"/>
        </dgm:presLayoutVars>
      </dgm:prSet>
      <dgm:spPr/>
    </dgm:pt>
    <dgm:pt modelId="{9833DF5B-68D5-41F6-A523-9A5678394E58}" type="pres">
      <dgm:prSet presAssocID="{50A5F10B-C1FB-4521-826D-3C55CB839AE2}" presName="sibTrans" presStyleCnt="0"/>
      <dgm:spPr/>
    </dgm:pt>
    <dgm:pt modelId="{8E5F5894-71D7-4AD0-AB3F-825397E67428}" type="pres">
      <dgm:prSet presAssocID="{2E3CAA22-643F-4AB0-A1DA-20BE5D846CFB}" presName="node" presStyleLbl="node1" presStyleIdx="3" presStyleCnt="6">
        <dgm:presLayoutVars>
          <dgm:bulletEnabled val="1"/>
        </dgm:presLayoutVars>
      </dgm:prSet>
      <dgm:spPr/>
    </dgm:pt>
    <dgm:pt modelId="{8ABC1043-C70B-4802-972F-E92D28931A33}" type="pres">
      <dgm:prSet presAssocID="{7225BED6-EFE7-401D-8A32-EBCC85760333}" presName="sibTrans" presStyleCnt="0"/>
      <dgm:spPr/>
    </dgm:pt>
    <dgm:pt modelId="{41438514-9CE3-4267-8433-2A509C733917}" type="pres">
      <dgm:prSet presAssocID="{C7781311-E474-47F5-902B-0A2B3D8FF44A}" presName="node" presStyleLbl="node1" presStyleIdx="4" presStyleCnt="6">
        <dgm:presLayoutVars>
          <dgm:bulletEnabled val="1"/>
        </dgm:presLayoutVars>
      </dgm:prSet>
      <dgm:spPr/>
    </dgm:pt>
    <dgm:pt modelId="{64659242-38B6-43C3-988D-CA767345F9FA}" type="pres">
      <dgm:prSet presAssocID="{D871D23F-569C-4FD5-AFBA-DD194F9C33FF}" presName="sibTrans" presStyleCnt="0"/>
      <dgm:spPr/>
    </dgm:pt>
    <dgm:pt modelId="{CD7FF0B3-454C-4F5A-9542-9E88E96578B7}" type="pres">
      <dgm:prSet presAssocID="{4FB763E3-8A34-4199-805A-904204A5B9E8}" presName="node" presStyleLbl="node1" presStyleIdx="5" presStyleCnt="6">
        <dgm:presLayoutVars>
          <dgm:bulletEnabled val="1"/>
        </dgm:presLayoutVars>
      </dgm:prSet>
      <dgm:spPr/>
    </dgm:pt>
  </dgm:ptLst>
  <dgm:cxnLst>
    <dgm:cxn modelId="{E7C7F301-BE84-45C0-836D-F76E9E1B3191}" srcId="{E718AF86-2E83-4750-9E5F-A0B0CA96829B}" destId="{C7781311-E474-47F5-902B-0A2B3D8FF44A}" srcOrd="4" destOrd="0" parTransId="{48AC272F-9CFB-4033-B69D-73E2EE0B7EC5}" sibTransId="{D871D23F-569C-4FD5-AFBA-DD194F9C33FF}"/>
    <dgm:cxn modelId="{EAF69C1C-412E-467D-A416-0D9B052B9C45}" type="presOf" srcId="{C7781311-E474-47F5-902B-0A2B3D8FF44A}" destId="{41438514-9CE3-4267-8433-2A509C733917}" srcOrd="0" destOrd="0" presId="urn:microsoft.com/office/officeart/2005/8/layout/default"/>
    <dgm:cxn modelId="{AF7F8837-3C30-4090-B22C-0F838EE666D6}" srcId="{E718AF86-2E83-4750-9E5F-A0B0CA96829B}" destId="{1B8D85C5-F2D0-42D0-A7C7-595DDFBB0B94}" srcOrd="1" destOrd="0" parTransId="{D6E3759B-9562-418F-A884-F46CCF2E4539}" sibTransId="{B41704BC-3399-4B98-8CBB-1C82DC8134AC}"/>
    <dgm:cxn modelId="{D2A06739-756D-4BEC-9F67-51E01771EAA0}" srcId="{E718AF86-2E83-4750-9E5F-A0B0CA96829B}" destId="{4FB763E3-8A34-4199-805A-904204A5B9E8}" srcOrd="5" destOrd="0" parTransId="{56D5179D-1EFA-4854-87D9-1B62387F6DC6}" sibTransId="{5D5D3307-FD81-45B6-A978-0B64D363C3ED}"/>
    <dgm:cxn modelId="{D47D3965-CF8E-49E2-A107-DF06E37B6FA9}" srcId="{E718AF86-2E83-4750-9E5F-A0B0CA96829B}" destId="{877A83AA-B99B-4BD8-8DEC-185197AADBB9}" srcOrd="2" destOrd="0" parTransId="{03350E07-5B48-4E7C-B3A5-440AC1FB5680}" sibTransId="{50A5F10B-C1FB-4521-826D-3C55CB839AE2}"/>
    <dgm:cxn modelId="{07A78767-A68A-433A-B2AB-E0AEA5A900F8}" type="presOf" srcId="{4FB763E3-8A34-4199-805A-904204A5B9E8}" destId="{CD7FF0B3-454C-4F5A-9542-9E88E96578B7}" srcOrd="0" destOrd="0" presId="urn:microsoft.com/office/officeart/2005/8/layout/default"/>
    <dgm:cxn modelId="{17A68A49-D15C-41E3-94E3-748FE3CED320}" srcId="{E718AF86-2E83-4750-9E5F-A0B0CA96829B}" destId="{75D565E3-8336-48C4-90E3-0C9DA6803E1C}" srcOrd="0" destOrd="0" parTransId="{FED36DBC-8D88-4B75-BECA-EC9BFD87DE2B}" sibTransId="{7336C954-45A6-45C0-A688-FBC0481332A0}"/>
    <dgm:cxn modelId="{7DC3A074-F808-464E-83D7-77636119EF8E}" srcId="{E718AF86-2E83-4750-9E5F-A0B0CA96829B}" destId="{2E3CAA22-643F-4AB0-A1DA-20BE5D846CFB}" srcOrd="3" destOrd="0" parTransId="{5F02574E-EF70-4789-8A4E-C11738F6861A}" sibTransId="{7225BED6-EFE7-401D-8A32-EBCC85760333}"/>
    <dgm:cxn modelId="{2A47C799-D321-4234-B771-8495A7A18A6B}" type="presOf" srcId="{E718AF86-2E83-4750-9E5F-A0B0CA96829B}" destId="{7B6D35E6-14FC-460A-BFCD-18027F77E34D}" srcOrd="0" destOrd="0" presId="urn:microsoft.com/office/officeart/2005/8/layout/default"/>
    <dgm:cxn modelId="{24CE4DC1-9918-4E1A-A7C3-E13685DCDAFC}" type="presOf" srcId="{2E3CAA22-643F-4AB0-A1DA-20BE5D846CFB}" destId="{8E5F5894-71D7-4AD0-AB3F-825397E67428}" srcOrd="0" destOrd="0" presId="urn:microsoft.com/office/officeart/2005/8/layout/default"/>
    <dgm:cxn modelId="{B8354AD7-6CA5-469F-B29C-B03EC1868624}" type="presOf" srcId="{877A83AA-B99B-4BD8-8DEC-185197AADBB9}" destId="{7D292785-63DD-40E5-BF38-3BDE0B2D1FB7}" srcOrd="0" destOrd="0" presId="urn:microsoft.com/office/officeart/2005/8/layout/default"/>
    <dgm:cxn modelId="{740372E7-5C49-46C4-8B89-ADD89B8AF2B0}" type="presOf" srcId="{75D565E3-8336-48C4-90E3-0C9DA6803E1C}" destId="{BF61FA31-D264-43EA-875B-A2B7B8E7012B}" srcOrd="0" destOrd="0" presId="urn:microsoft.com/office/officeart/2005/8/layout/default"/>
    <dgm:cxn modelId="{8A89D9EB-2DAB-4DFC-AE2E-C1E3D39E41C7}" type="presOf" srcId="{1B8D85C5-F2D0-42D0-A7C7-595DDFBB0B94}" destId="{4573CE03-A660-44F7-B0C8-0BF6532B8A05}" srcOrd="0" destOrd="0" presId="urn:microsoft.com/office/officeart/2005/8/layout/default"/>
    <dgm:cxn modelId="{8743B6DA-95E4-4D09-9086-A532CBBB1F0A}" type="presParOf" srcId="{7B6D35E6-14FC-460A-BFCD-18027F77E34D}" destId="{BF61FA31-D264-43EA-875B-A2B7B8E7012B}" srcOrd="0" destOrd="0" presId="urn:microsoft.com/office/officeart/2005/8/layout/default"/>
    <dgm:cxn modelId="{1B73C1BB-2068-4388-8DAA-6D0A837F6E50}" type="presParOf" srcId="{7B6D35E6-14FC-460A-BFCD-18027F77E34D}" destId="{3A618FCC-9271-4F94-9C7F-8E0070B1CDA1}" srcOrd="1" destOrd="0" presId="urn:microsoft.com/office/officeart/2005/8/layout/default"/>
    <dgm:cxn modelId="{C6B24FDE-759F-41F1-A2A5-AC7D86E13B7F}" type="presParOf" srcId="{7B6D35E6-14FC-460A-BFCD-18027F77E34D}" destId="{4573CE03-A660-44F7-B0C8-0BF6532B8A05}" srcOrd="2" destOrd="0" presId="urn:microsoft.com/office/officeart/2005/8/layout/default"/>
    <dgm:cxn modelId="{5049096C-7D7F-4ABB-A60A-A17AE8097EF2}" type="presParOf" srcId="{7B6D35E6-14FC-460A-BFCD-18027F77E34D}" destId="{C2F10033-87C7-49C0-930D-446DCB2C20C3}" srcOrd="3" destOrd="0" presId="urn:microsoft.com/office/officeart/2005/8/layout/default"/>
    <dgm:cxn modelId="{9967A2FA-04E6-4300-A0DA-AA6F59225F88}" type="presParOf" srcId="{7B6D35E6-14FC-460A-BFCD-18027F77E34D}" destId="{7D292785-63DD-40E5-BF38-3BDE0B2D1FB7}" srcOrd="4" destOrd="0" presId="urn:microsoft.com/office/officeart/2005/8/layout/default"/>
    <dgm:cxn modelId="{B2DF82E2-9984-4430-B472-CF4CC03E5878}" type="presParOf" srcId="{7B6D35E6-14FC-460A-BFCD-18027F77E34D}" destId="{9833DF5B-68D5-41F6-A523-9A5678394E58}" srcOrd="5" destOrd="0" presId="urn:microsoft.com/office/officeart/2005/8/layout/default"/>
    <dgm:cxn modelId="{FA73D001-B0CE-4EF2-8EBC-891266FADEDF}" type="presParOf" srcId="{7B6D35E6-14FC-460A-BFCD-18027F77E34D}" destId="{8E5F5894-71D7-4AD0-AB3F-825397E67428}" srcOrd="6" destOrd="0" presId="urn:microsoft.com/office/officeart/2005/8/layout/default"/>
    <dgm:cxn modelId="{964C9A2C-7D71-4986-9E1C-35CB9E4865C1}" type="presParOf" srcId="{7B6D35E6-14FC-460A-BFCD-18027F77E34D}" destId="{8ABC1043-C70B-4802-972F-E92D28931A33}" srcOrd="7" destOrd="0" presId="urn:microsoft.com/office/officeart/2005/8/layout/default"/>
    <dgm:cxn modelId="{BCE5E367-BC1D-466D-AC7A-861B43E4EFB9}" type="presParOf" srcId="{7B6D35E6-14FC-460A-BFCD-18027F77E34D}" destId="{41438514-9CE3-4267-8433-2A509C733917}" srcOrd="8" destOrd="0" presId="urn:microsoft.com/office/officeart/2005/8/layout/default"/>
    <dgm:cxn modelId="{CF69EE65-1AF7-49DE-8455-0444EEC5B47A}" type="presParOf" srcId="{7B6D35E6-14FC-460A-BFCD-18027F77E34D}" destId="{64659242-38B6-43C3-988D-CA767345F9FA}" srcOrd="9" destOrd="0" presId="urn:microsoft.com/office/officeart/2005/8/layout/default"/>
    <dgm:cxn modelId="{2315DC74-89FD-478B-B4B3-80CFF761CCC0}" type="presParOf" srcId="{7B6D35E6-14FC-460A-BFCD-18027F77E34D}" destId="{CD7FF0B3-454C-4F5A-9542-9E88E96578B7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C05A7D9-4B26-493B-AD17-CF6F474D260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3147A8-9B94-4655-872A-C321ED63F359}" type="parTrans" cxnId="{BCA4FB88-C5E4-41D6-98B0-C4B508184EA7}">
      <dgm:prSet/>
      <dgm:spPr/>
      <dgm:t>
        <a:bodyPr/>
        <a:lstStyle/>
        <a:p>
          <a:endParaRPr lang="en-US"/>
        </a:p>
      </dgm:t>
    </dgm:pt>
    <dgm:pt modelId="{D1140553-0F2C-4E08-A6D7-E96957698816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dotta visiva </a:t>
          </a:r>
        </a:p>
      </dgm:t>
    </dgm:pt>
    <dgm:pt modelId="{6EE0849C-BC16-44AE-B4F4-4E3885699EAF}" type="parTrans" cxnId="{AEAE6FCB-EE16-4A37-BAA1-DC0588F44350}">
      <dgm:prSet/>
      <dgm:spPr/>
      <dgm:t>
        <a:bodyPr/>
        <a:lstStyle/>
        <a:p>
          <a:endParaRPr lang="en-US"/>
        </a:p>
      </dgm:t>
    </dgm:pt>
    <dgm:pt modelId="{7AD47BAE-9CB4-432C-9257-ACCCDE15C002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erseverare, fare gesti sessuali</a:t>
          </a:r>
        </a:p>
      </dgm:t>
    </dgm:pt>
    <dgm:pt modelId="{B2C67109-4C19-4CF1-A362-DDEA36B3260E}" type="sibTrans" cxnId="{AEAE6FCB-EE16-4A37-BAA1-DC0588F44350}">
      <dgm:prSet/>
      <dgm:spPr/>
      <dgm:t>
        <a:bodyPr/>
        <a:lstStyle/>
        <a:p>
          <a:endParaRPr lang="en-US"/>
        </a:p>
      </dgm:t>
    </dgm:pt>
    <dgm:pt modelId="{B0B1209E-36A1-4E04-98E3-7E1EE65124D5}" type="parTrans" cxnId="{D6D6AEF6-C1CE-4165-B18C-BC91BC320CBF}">
      <dgm:prSet/>
      <dgm:spPr/>
      <dgm:t>
        <a:bodyPr/>
        <a:lstStyle/>
        <a:p>
          <a:endParaRPr lang="en-US"/>
        </a:p>
      </dgm:t>
    </dgm:pt>
    <dgm:pt modelId="{424F1DCF-E6C8-484E-BBFE-3FD4CF2C4D50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Visualizzazione di oggetti, immagini, cartoni animati o poster suggestivi in formato cartaceo o digitale</a:t>
          </a:r>
        </a:p>
      </dgm:t>
    </dgm:pt>
    <dgm:pt modelId="{5519A9E2-41C9-4E39-8BED-4C67155F3D79}" type="sibTrans" cxnId="{D6D6AEF6-C1CE-4165-B18C-BC91BC320CBF}">
      <dgm:prSet/>
      <dgm:spPr/>
      <dgm:t>
        <a:bodyPr/>
        <a:lstStyle/>
        <a:p>
          <a:endParaRPr lang="en-US"/>
        </a:p>
      </dgm:t>
    </dgm:pt>
    <dgm:pt modelId="{7317062B-F1CA-45AF-ACEC-CF8A4966C4E7}" type="sibTrans" cxnId="{BCA4FB88-C5E4-41D6-98B0-C4B508184EA7}">
      <dgm:prSet/>
      <dgm:spPr/>
      <dgm:t>
        <a:bodyPr/>
        <a:lstStyle/>
        <a:p>
          <a:endParaRPr lang="en-US"/>
        </a:p>
      </dgm:t>
    </dgm:pt>
    <dgm:pt modelId="{01509BDB-23A7-4E1A-8EE1-9B1BA783FFD5}" type="parTrans" cxnId="{E582EDA4-87F2-4420-9378-DE5407F673E0}">
      <dgm:prSet/>
      <dgm:spPr/>
      <dgm:t>
        <a:bodyPr/>
        <a:lstStyle/>
        <a:p>
          <a:endParaRPr lang="en-US"/>
        </a:p>
      </dgm:t>
    </dgm:pt>
    <dgm:pt modelId="{03ADAECB-047A-46F4-9200-A29E2B53805A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dotta fisica</a:t>
          </a:r>
        </a:p>
      </dgm:t>
    </dgm:pt>
    <dgm:pt modelId="{7D4D8014-F1DB-411D-A99F-000FBF67510A}" type="parTrans" cxnId="{2626F990-A996-4A2C-B15B-103C205024EC}">
      <dgm:prSet/>
      <dgm:spPr/>
      <dgm:t>
        <a:bodyPr/>
        <a:lstStyle/>
        <a:p>
          <a:endParaRPr lang="en-US"/>
        </a:p>
      </dgm:t>
    </dgm:pt>
    <dgm:pt modelId="{700502CC-08DF-4A38-B06C-7BAE4529CD04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Toccare, abbracciare o massaggiare</a:t>
          </a:r>
        </a:p>
      </dgm:t>
    </dgm:pt>
    <dgm:pt modelId="{3AA66E2B-C7F4-4738-B0C6-89117339686D}" type="sibTrans" cxnId="{2626F990-A996-4A2C-B15B-103C205024EC}">
      <dgm:prSet/>
      <dgm:spPr/>
      <dgm:t>
        <a:bodyPr/>
        <a:lstStyle/>
        <a:p>
          <a:endParaRPr lang="en-US"/>
        </a:p>
      </dgm:t>
    </dgm:pt>
    <dgm:pt modelId="{9B816D66-BCA5-4EB0-97D2-6A6E68BCB7D8}" type="parTrans" cxnId="{4F0A3370-D6FC-4415-94E8-22B68BAF2912}">
      <dgm:prSet/>
      <dgm:spPr/>
      <dgm:t>
        <a:bodyPr/>
        <a:lstStyle/>
        <a:p>
          <a:endParaRPr lang="en-US"/>
        </a:p>
      </dgm:t>
    </dgm:pt>
    <dgm:pt modelId="{AAABA161-B816-48FE-9FF6-403447916EF6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Attacco</a:t>
          </a:r>
        </a:p>
      </dgm:t>
    </dgm:pt>
    <dgm:pt modelId="{CAF8154D-B656-4A60-911E-7D35FB8AFDAF}" type="sibTrans" cxnId="{4F0A3370-D6FC-4415-94E8-22B68BAF2912}">
      <dgm:prSet/>
      <dgm:spPr/>
      <dgm:t>
        <a:bodyPr/>
        <a:lstStyle/>
        <a:p>
          <a:endParaRPr lang="en-US"/>
        </a:p>
      </dgm:t>
    </dgm:pt>
    <dgm:pt modelId="{7136BF63-0206-4684-85AB-24B66306CC42}" type="parTrans" cxnId="{B6115C62-8DDA-4125-B022-FD78B0B2996A}">
      <dgm:prSet/>
      <dgm:spPr/>
      <dgm:t>
        <a:bodyPr/>
        <a:lstStyle/>
        <a:p>
          <a:endParaRPr lang="en-US"/>
        </a:p>
      </dgm:t>
    </dgm:pt>
    <dgm:pt modelId="{6145CC65-493A-459B-864E-BE0291E3B59B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mpedisce o blocca il movimento </a:t>
          </a:r>
        </a:p>
      </dgm:t>
    </dgm:pt>
    <dgm:pt modelId="{72680BB3-04FA-41D0-987B-EFEBFE9E86BA}" type="sibTrans" cxnId="{B6115C62-8DDA-4125-B022-FD78B0B2996A}">
      <dgm:prSet/>
      <dgm:spPr/>
      <dgm:t>
        <a:bodyPr/>
        <a:lstStyle/>
        <a:p>
          <a:endParaRPr lang="en-US"/>
        </a:p>
      </dgm:t>
    </dgm:pt>
    <dgm:pt modelId="{CDCDB1D1-BFA5-4418-9B98-B885AF47B3A5}" type="sibTrans" cxnId="{E582EDA4-87F2-4420-9378-DE5407F673E0}">
      <dgm:prSet/>
      <dgm:spPr/>
      <dgm:t>
        <a:bodyPr/>
        <a:lstStyle/>
        <a:p>
          <a:endParaRPr lang="en-US"/>
        </a:p>
      </dgm:t>
    </dgm:pt>
    <dgm:pt modelId="{998E800D-ECE1-4951-9960-7BDD393DF063}" type="parTrans" cxnId="{36B6E88F-3C2D-4F9A-BDFF-D82A4E921F1F}">
      <dgm:prSet/>
      <dgm:spPr/>
      <dgm:t>
        <a:bodyPr/>
        <a:lstStyle/>
        <a:p>
          <a:endParaRPr lang="en-US"/>
        </a:p>
      </dgm:t>
    </dgm:pt>
    <dgm:pt modelId="{E826FA2F-8DF9-4F84-A929-4F0DA138E063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dotta verbale </a:t>
          </a:r>
        </a:p>
      </dgm:t>
    </dgm:pt>
    <dgm:pt modelId="{E1A01D08-2A2A-4288-9A6B-4683DB5B102E}" type="parTrans" cxnId="{3D5B0BFE-AEF3-4D00-88F9-9DC29C465A13}">
      <dgm:prSet/>
      <dgm:spPr/>
      <dgm:t>
        <a:bodyPr/>
        <a:lstStyle/>
        <a:p>
          <a:endParaRPr lang="en-US"/>
        </a:p>
      </dgm:t>
    </dgm:pt>
    <dgm:pt modelId="{9BBEF1E3-0CAD-46F1-A1A7-FDD1D2E9A001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Fare o utilizzare commenti, insulti o battute di persona o attraverso testi, e-mail o messaggi dispregiativi</a:t>
          </a:r>
        </a:p>
      </dgm:t>
    </dgm:pt>
    <dgm:pt modelId="{2F4CA838-9D64-4D04-B928-E4E177D2EFFC}" type="sibTrans" cxnId="{3D5B0BFE-AEF3-4D00-88F9-9DC29C465A13}">
      <dgm:prSet/>
      <dgm:spPr/>
      <dgm:t>
        <a:bodyPr/>
        <a:lstStyle/>
        <a:p>
          <a:endParaRPr lang="en-US"/>
        </a:p>
      </dgm:t>
    </dgm:pt>
    <dgm:pt modelId="{8014555A-0CB7-4C34-ACAE-613E5E6AC076}" type="parTrans" cxnId="{79CD8762-2F23-415A-A082-24FE29581BD8}">
      <dgm:prSet/>
      <dgm:spPr/>
      <dgm:t>
        <a:bodyPr/>
        <a:lstStyle/>
        <a:p>
          <a:endParaRPr lang="en-US"/>
        </a:p>
      </dgm:t>
    </dgm:pt>
    <dgm:pt modelId="{D83BCC78-D56C-40B2-A4E9-119D217BB84C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Avance o proposte sessuali verbali</a:t>
          </a:r>
        </a:p>
      </dgm:t>
    </dgm:pt>
    <dgm:pt modelId="{42890CFE-C418-459F-93F0-D743808833AF}" type="sibTrans" cxnId="{79CD8762-2F23-415A-A082-24FE29581BD8}">
      <dgm:prSet/>
      <dgm:spPr/>
      <dgm:t>
        <a:bodyPr/>
        <a:lstStyle/>
        <a:p>
          <a:endParaRPr lang="en-US"/>
        </a:p>
      </dgm:t>
    </dgm:pt>
    <dgm:pt modelId="{D17DCF28-A149-41C4-8F81-35A18B015B57}" type="parTrans" cxnId="{A8EDDB0A-A7BB-41D7-B3DD-4C9B9E8B2F5B}">
      <dgm:prSet/>
      <dgm:spPr/>
      <dgm:t>
        <a:bodyPr/>
        <a:lstStyle/>
        <a:p>
          <a:endParaRPr lang="en-US"/>
        </a:p>
      </dgm:t>
    </dgm:pt>
    <dgm:pt modelId="{C15B46CF-86A6-42D1-A495-80BDE3CACF54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Abuso verbale di natura sessuale</a:t>
          </a:r>
        </a:p>
      </dgm:t>
    </dgm:pt>
    <dgm:pt modelId="{04EE481C-7495-40CE-950B-C4EB510C5DC1}" type="sibTrans" cxnId="{A8EDDB0A-A7BB-41D7-B3DD-4C9B9E8B2F5B}">
      <dgm:prSet/>
      <dgm:spPr/>
      <dgm:t>
        <a:bodyPr/>
        <a:lstStyle/>
        <a:p>
          <a:endParaRPr lang="en-US"/>
        </a:p>
      </dgm:t>
    </dgm:pt>
    <dgm:pt modelId="{1C4B42A5-C5B7-4CE0-B56D-8D3A89CD9A8B}" type="parTrans" cxnId="{1FF9B5A7-440D-43F8-8174-095985C3C6C8}">
      <dgm:prSet/>
      <dgm:spPr/>
      <dgm:t>
        <a:bodyPr/>
        <a:lstStyle/>
        <a:p>
          <a:endParaRPr lang="en-US"/>
        </a:p>
      </dgm:t>
    </dgm:pt>
    <dgm:pt modelId="{9318EE55-3B8D-40BB-B3DD-40119884117B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mmenti verbali grafici sul corpo di una persona</a:t>
          </a:r>
        </a:p>
      </dgm:t>
    </dgm:pt>
    <dgm:pt modelId="{56FEB4AC-12D6-48A4-92FD-11F459ACEE29}" type="sibTrans" cxnId="{1FF9B5A7-440D-43F8-8174-095985C3C6C8}">
      <dgm:prSet/>
      <dgm:spPr/>
      <dgm:t>
        <a:bodyPr/>
        <a:lstStyle/>
        <a:p>
          <a:endParaRPr lang="en-US"/>
        </a:p>
      </dgm:t>
    </dgm:pt>
    <dgm:pt modelId="{544ED2F1-447B-4D28-B908-B8AA40785393}" type="parTrans" cxnId="{807DD844-E36B-4D09-8936-4C12B74158FA}">
      <dgm:prSet/>
      <dgm:spPr/>
      <dgm:t>
        <a:bodyPr/>
        <a:lstStyle/>
        <a:p>
          <a:endParaRPr lang="en-US"/>
        </a:p>
      </dgm:t>
    </dgm:pt>
    <dgm:pt modelId="{70B2DF44-34FC-4788-9FB5-6B334345058D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it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arole sessualmente degradanti utilizzate per descrivere lettere, note o inviti individuali, allusivi od osceni</a:t>
          </a:r>
        </a:p>
      </dgm:t>
    </dgm:pt>
    <dgm:pt modelId="{FBB0510E-F978-4063-8359-F3B0AA0F5613}" type="sibTrans" cxnId="{807DD844-E36B-4D09-8936-4C12B74158FA}">
      <dgm:prSet/>
      <dgm:spPr/>
      <dgm:t>
        <a:bodyPr/>
        <a:lstStyle/>
        <a:p>
          <a:endParaRPr lang="en-US"/>
        </a:p>
      </dgm:t>
    </dgm:pt>
    <dgm:pt modelId="{ADE3DF73-07D5-4C55-842D-35766D1190D0}" type="sibTrans" cxnId="{36B6E88F-3C2D-4F9A-BDFF-D82A4E921F1F}">
      <dgm:prSet/>
      <dgm:spPr/>
      <dgm:t>
        <a:bodyPr/>
        <a:lstStyle/>
        <a:p>
          <a:endParaRPr lang="en-US"/>
        </a:p>
      </dgm:t>
    </dgm:pt>
    <dgm:pt modelId="{4C92CBA6-378A-4AC4-8B81-EBCFC25998B5}" type="pres">
      <dgm:prSet presAssocID="{0C05A7D9-4B26-493B-AD17-CF6F474D2605}" presName="diagram" presStyleCnt="0">
        <dgm:presLayoutVars>
          <dgm:dir/>
          <dgm:resizeHandles val="exact"/>
        </dgm:presLayoutVars>
      </dgm:prSet>
      <dgm:spPr/>
    </dgm:pt>
    <dgm:pt modelId="{EA286E4F-7206-4C05-AD55-DC212A1A5DC4}" type="pres">
      <dgm:prSet presAssocID="{D1140553-0F2C-4E08-A6D7-E96957698816}" presName="node" presStyleLbl="node1" presStyleIdx="0" presStyleCnt="3" custScaleY="72244">
        <dgm:presLayoutVars>
          <dgm:bulletEnabled val="1"/>
        </dgm:presLayoutVars>
      </dgm:prSet>
      <dgm:spPr/>
    </dgm:pt>
    <dgm:pt modelId="{F80C4730-0173-4C1A-9B71-4C9F48B5C63F}" type="pres">
      <dgm:prSet presAssocID="{7317062B-F1CA-45AF-ACEC-CF8A4966C4E7}" presName="sibTrans" presStyleCnt="0"/>
      <dgm:spPr/>
    </dgm:pt>
    <dgm:pt modelId="{988B99C9-8C3B-43DD-B195-DE7699CD3887}" type="pres">
      <dgm:prSet presAssocID="{03ADAECB-047A-46F4-9200-A29E2B53805A}" presName="node" presStyleLbl="node1" presStyleIdx="1" presStyleCnt="3" custScaleY="72244">
        <dgm:presLayoutVars>
          <dgm:bulletEnabled val="1"/>
        </dgm:presLayoutVars>
      </dgm:prSet>
      <dgm:spPr/>
    </dgm:pt>
    <dgm:pt modelId="{8757694E-B58D-42BB-9481-BBB0585FB9A2}" type="pres">
      <dgm:prSet presAssocID="{CDCDB1D1-BFA5-4418-9B98-B885AF47B3A5}" presName="sibTrans" presStyleCnt="0"/>
      <dgm:spPr/>
    </dgm:pt>
    <dgm:pt modelId="{66092D74-200C-439C-BC45-FB0319721481}" type="pres">
      <dgm:prSet presAssocID="{E826FA2F-8DF9-4F84-A929-4F0DA138E063}" presName="node" presStyleLbl="node1" presStyleIdx="2" presStyleCnt="3" custScaleX="181097" custScaleY="106337">
        <dgm:presLayoutVars>
          <dgm:bulletEnabled val="1"/>
        </dgm:presLayoutVars>
      </dgm:prSet>
      <dgm:spPr/>
    </dgm:pt>
  </dgm:ptLst>
  <dgm:cxnLst>
    <dgm:cxn modelId="{A8EDDB0A-A7BB-41D7-B3DD-4C9B9E8B2F5B}" srcId="{E826FA2F-8DF9-4F84-A929-4F0DA138E063}" destId="{C15B46CF-86A6-42D1-A495-80BDE3CACF54}" srcOrd="2" destOrd="0" parTransId="{D17DCF28-A149-41C4-8F81-35A18B015B57}" sibTransId="{04EE481C-7495-40CE-950B-C4EB510C5DC1}"/>
    <dgm:cxn modelId="{CB4FC017-69DB-4143-B5C9-F0062B11F8EB}" type="presOf" srcId="{700502CC-08DF-4A38-B06C-7BAE4529CD04}" destId="{988B99C9-8C3B-43DD-B195-DE7699CD3887}" srcOrd="0" destOrd="1" presId="urn:microsoft.com/office/officeart/2005/8/layout/default"/>
    <dgm:cxn modelId="{93F3F634-5D30-4125-B6B8-C83C6ED77FA9}" type="presOf" srcId="{424F1DCF-E6C8-484E-BBFE-3FD4CF2C4D50}" destId="{EA286E4F-7206-4C05-AD55-DC212A1A5DC4}" srcOrd="0" destOrd="2" presId="urn:microsoft.com/office/officeart/2005/8/layout/default"/>
    <dgm:cxn modelId="{B6115C62-8DDA-4125-B022-FD78B0B2996A}" srcId="{03ADAECB-047A-46F4-9200-A29E2B53805A}" destId="{6145CC65-493A-459B-864E-BE0291E3B59B}" srcOrd="2" destOrd="0" parTransId="{7136BF63-0206-4684-85AB-24B66306CC42}" sibTransId="{72680BB3-04FA-41D0-987B-EFEBFE9E86BA}"/>
    <dgm:cxn modelId="{79CD8762-2F23-415A-A082-24FE29581BD8}" srcId="{E826FA2F-8DF9-4F84-A929-4F0DA138E063}" destId="{D83BCC78-D56C-40B2-A4E9-119D217BB84C}" srcOrd="1" destOrd="0" parTransId="{8014555A-0CB7-4C34-ACAE-613E5E6AC076}" sibTransId="{42890CFE-C418-459F-93F0-D743808833AF}"/>
    <dgm:cxn modelId="{807DD844-E36B-4D09-8936-4C12B74158FA}" srcId="{E826FA2F-8DF9-4F84-A929-4F0DA138E063}" destId="{70B2DF44-34FC-4788-9FB5-6B334345058D}" srcOrd="4" destOrd="0" parTransId="{544ED2F1-447B-4D28-B908-B8AA40785393}" sibTransId="{FBB0510E-F978-4063-8359-F3B0AA0F5613}"/>
    <dgm:cxn modelId="{4F0A3370-D6FC-4415-94E8-22B68BAF2912}" srcId="{03ADAECB-047A-46F4-9200-A29E2B53805A}" destId="{AAABA161-B816-48FE-9FF6-403447916EF6}" srcOrd="1" destOrd="0" parTransId="{9B816D66-BCA5-4EB0-97D2-6A6E68BCB7D8}" sibTransId="{CAF8154D-B656-4A60-911E-7D35FB8AFDAF}"/>
    <dgm:cxn modelId="{B77DF178-BC31-4ECE-AB22-C834812BBEF7}" type="presOf" srcId="{0C05A7D9-4B26-493B-AD17-CF6F474D2605}" destId="{4C92CBA6-378A-4AC4-8B81-EBCFC25998B5}" srcOrd="0" destOrd="0" presId="urn:microsoft.com/office/officeart/2005/8/layout/default"/>
    <dgm:cxn modelId="{D899BC82-A6AC-450C-B03B-A8812E64D9B2}" type="presOf" srcId="{AAABA161-B816-48FE-9FF6-403447916EF6}" destId="{988B99C9-8C3B-43DD-B195-DE7699CD3887}" srcOrd="0" destOrd="2" presId="urn:microsoft.com/office/officeart/2005/8/layout/default"/>
    <dgm:cxn modelId="{BCA4FB88-C5E4-41D6-98B0-C4B508184EA7}" srcId="{0C05A7D9-4B26-493B-AD17-CF6F474D2605}" destId="{D1140553-0F2C-4E08-A6D7-E96957698816}" srcOrd="0" destOrd="0" parTransId="{953147A8-9B94-4655-872A-C321ED63F359}" sibTransId="{7317062B-F1CA-45AF-ACEC-CF8A4966C4E7}"/>
    <dgm:cxn modelId="{36B6E88F-3C2D-4F9A-BDFF-D82A4E921F1F}" srcId="{0C05A7D9-4B26-493B-AD17-CF6F474D2605}" destId="{E826FA2F-8DF9-4F84-A929-4F0DA138E063}" srcOrd="2" destOrd="0" parTransId="{998E800D-ECE1-4951-9960-7BDD393DF063}" sibTransId="{ADE3DF73-07D5-4C55-842D-35766D1190D0}"/>
    <dgm:cxn modelId="{2626F990-A996-4A2C-B15B-103C205024EC}" srcId="{03ADAECB-047A-46F4-9200-A29E2B53805A}" destId="{700502CC-08DF-4A38-B06C-7BAE4529CD04}" srcOrd="0" destOrd="0" parTransId="{7D4D8014-F1DB-411D-A99F-000FBF67510A}" sibTransId="{3AA66E2B-C7F4-4738-B0C6-89117339686D}"/>
    <dgm:cxn modelId="{E9EDECA1-0FE1-4ABB-9878-DBBA0486C3B7}" type="presOf" srcId="{C15B46CF-86A6-42D1-A495-80BDE3CACF54}" destId="{66092D74-200C-439C-BC45-FB0319721481}" srcOrd="0" destOrd="3" presId="urn:microsoft.com/office/officeart/2005/8/layout/default"/>
    <dgm:cxn modelId="{F341A2A3-AA98-40C6-8C4C-0EC6E16BCC14}" type="presOf" srcId="{E826FA2F-8DF9-4F84-A929-4F0DA138E063}" destId="{66092D74-200C-439C-BC45-FB0319721481}" srcOrd="0" destOrd="0" presId="urn:microsoft.com/office/officeart/2005/8/layout/default"/>
    <dgm:cxn modelId="{E582EDA4-87F2-4420-9378-DE5407F673E0}" srcId="{0C05A7D9-4B26-493B-AD17-CF6F474D2605}" destId="{03ADAECB-047A-46F4-9200-A29E2B53805A}" srcOrd="1" destOrd="0" parTransId="{01509BDB-23A7-4E1A-8EE1-9B1BA783FFD5}" sibTransId="{CDCDB1D1-BFA5-4418-9B98-B885AF47B3A5}"/>
    <dgm:cxn modelId="{1FF9B5A7-440D-43F8-8174-095985C3C6C8}" srcId="{E826FA2F-8DF9-4F84-A929-4F0DA138E063}" destId="{9318EE55-3B8D-40BB-B3DD-40119884117B}" srcOrd="3" destOrd="0" parTransId="{1C4B42A5-C5B7-4CE0-B56D-8D3A89CD9A8B}" sibTransId="{56FEB4AC-12D6-48A4-92FD-11F459ACEE29}"/>
    <dgm:cxn modelId="{718112B8-1381-4F5F-A72A-83B20A86A938}" type="presOf" srcId="{7AD47BAE-9CB4-432C-9257-ACCCDE15C002}" destId="{EA286E4F-7206-4C05-AD55-DC212A1A5DC4}" srcOrd="0" destOrd="1" presId="urn:microsoft.com/office/officeart/2005/8/layout/default"/>
    <dgm:cxn modelId="{AEAE6FCB-EE16-4A37-BAA1-DC0588F44350}" srcId="{D1140553-0F2C-4E08-A6D7-E96957698816}" destId="{7AD47BAE-9CB4-432C-9257-ACCCDE15C002}" srcOrd="0" destOrd="0" parTransId="{6EE0849C-BC16-44AE-B4F4-4E3885699EAF}" sibTransId="{B2C67109-4C19-4CF1-A362-DDEA36B3260E}"/>
    <dgm:cxn modelId="{1471EACF-43CE-487C-A6D5-06C422B14995}" type="presOf" srcId="{9BBEF1E3-0CAD-46F1-A1A7-FDD1D2E9A001}" destId="{66092D74-200C-439C-BC45-FB0319721481}" srcOrd="0" destOrd="1" presId="urn:microsoft.com/office/officeart/2005/8/layout/default"/>
    <dgm:cxn modelId="{8C806ADA-8094-4F76-BE19-BE26F08E3D91}" type="presOf" srcId="{03ADAECB-047A-46F4-9200-A29E2B53805A}" destId="{988B99C9-8C3B-43DD-B195-DE7699CD3887}" srcOrd="0" destOrd="0" presId="urn:microsoft.com/office/officeart/2005/8/layout/default"/>
    <dgm:cxn modelId="{9E1194DA-EC27-4158-8F2F-C8713F6CBB64}" type="presOf" srcId="{9318EE55-3B8D-40BB-B3DD-40119884117B}" destId="{66092D74-200C-439C-BC45-FB0319721481}" srcOrd="0" destOrd="4" presId="urn:microsoft.com/office/officeart/2005/8/layout/default"/>
    <dgm:cxn modelId="{019D10DB-031C-4207-A085-079C4EB2E2DC}" type="presOf" srcId="{D1140553-0F2C-4E08-A6D7-E96957698816}" destId="{EA286E4F-7206-4C05-AD55-DC212A1A5DC4}" srcOrd="0" destOrd="0" presId="urn:microsoft.com/office/officeart/2005/8/layout/default"/>
    <dgm:cxn modelId="{4F5962DF-87E8-4580-8BFA-3B9618AB8143}" type="presOf" srcId="{D83BCC78-D56C-40B2-A4E9-119D217BB84C}" destId="{66092D74-200C-439C-BC45-FB0319721481}" srcOrd="0" destOrd="2" presId="urn:microsoft.com/office/officeart/2005/8/layout/default"/>
    <dgm:cxn modelId="{6A4B8FE1-E32C-4591-B3DC-E60E064295B1}" type="presOf" srcId="{6145CC65-493A-459B-864E-BE0291E3B59B}" destId="{988B99C9-8C3B-43DD-B195-DE7699CD3887}" srcOrd="0" destOrd="3" presId="urn:microsoft.com/office/officeart/2005/8/layout/default"/>
    <dgm:cxn modelId="{529FD3EA-28ED-498C-8BEF-C6E0ACBA1D64}" type="presOf" srcId="{70B2DF44-34FC-4788-9FB5-6B334345058D}" destId="{66092D74-200C-439C-BC45-FB0319721481}" srcOrd="0" destOrd="5" presId="urn:microsoft.com/office/officeart/2005/8/layout/default"/>
    <dgm:cxn modelId="{D6D6AEF6-C1CE-4165-B18C-BC91BC320CBF}" srcId="{D1140553-0F2C-4E08-A6D7-E96957698816}" destId="{424F1DCF-E6C8-484E-BBFE-3FD4CF2C4D50}" srcOrd="1" destOrd="0" parTransId="{B0B1209E-36A1-4E04-98E3-7E1EE65124D5}" sibTransId="{5519A9E2-41C9-4E39-8BED-4C67155F3D79}"/>
    <dgm:cxn modelId="{3D5B0BFE-AEF3-4D00-88F9-9DC29C465A13}" srcId="{E826FA2F-8DF9-4F84-A929-4F0DA138E063}" destId="{9BBEF1E3-0CAD-46F1-A1A7-FDD1D2E9A001}" srcOrd="0" destOrd="0" parTransId="{E1A01D08-2A2A-4288-9A6B-4683DB5B102E}" sibTransId="{2F4CA838-9D64-4D04-B928-E4E177D2EFFC}"/>
    <dgm:cxn modelId="{FB2F09AD-2015-4BAE-9B0A-FA045D0E1C8F}" type="presParOf" srcId="{4C92CBA6-378A-4AC4-8B81-EBCFC25998B5}" destId="{EA286E4F-7206-4C05-AD55-DC212A1A5DC4}" srcOrd="0" destOrd="0" presId="urn:microsoft.com/office/officeart/2005/8/layout/default"/>
    <dgm:cxn modelId="{0465E8F3-D0C4-4C66-A1FD-AA855CC211F1}" type="presParOf" srcId="{4C92CBA6-378A-4AC4-8B81-EBCFC25998B5}" destId="{F80C4730-0173-4C1A-9B71-4C9F48B5C63F}" srcOrd="1" destOrd="0" presId="urn:microsoft.com/office/officeart/2005/8/layout/default"/>
    <dgm:cxn modelId="{6A8F106F-E4CC-4632-BDAE-F2A62AA433BD}" type="presParOf" srcId="{4C92CBA6-378A-4AC4-8B81-EBCFC25998B5}" destId="{988B99C9-8C3B-43DD-B195-DE7699CD3887}" srcOrd="2" destOrd="0" presId="urn:microsoft.com/office/officeart/2005/8/layout/default"/>
    <dgm:cxn modelId="{DF57181E-7ACE-462D-BEE9-3D6EB57884A3}" type="presParOf" srcId="{4C92CBA6-378A-4AC4-8B81-EBCFC25998B5}" destId="{8757694E-B58D-42BB-9481-BBB0585FB9A2}" srcOrd="3" destOrd="0" presId="urn:microsoft.com/office/officeart/2005/8/layout/default"/>
    <dgm:cxn modelId="{4A0DF787-0670-4184-B66F-6CC082AD9C88}" type="presParOf" srcId="{4C92CBA6-378A-4AC4-8B81-EBCFC25998B5}" destId="{66092D74-200C-439C-BC45-FB0319721481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3F388ED1-67EA-4C52-A4EF-B33800D3CCFC}" type="doc">
      <dgm:prSet loTypeId="urn:microsoft.com/office/officeart/2018/2/layout/IconLabel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4C96D5D-A300-45E1-8162-B0468AA37BF6}" type="parTrans" cxnId="{E75F7A12-FFB0-4F21-99C5-F5EADA06D3B6}">
      <dgm:prSet/>
      <dgm:spPr/>
      <dgm:t>
        <a:bodyPr/>
        <a:lstStyle/>
        <a:p>
          <a:endParaRPr lang="en-US"/>
        </a:p>
      </dgm:t>
    </dgm:pt>
    <dgm:pt modelId="{6765D87C-7CC0-41A0-B409-35F7C6713B98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it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Interazioni virtuali</a:t>
          </a:r>
          <a:endParaRPr lang="en-US"/>
        </a:p>
      </dgm:t>
    </dgm:pt>
    <dgm:pt modelId="{4C6C75F7-926F-45DD-9F25-3A9FC1E581A0}" type="sibTrans" cxnId="{E75F7A12-FFB0-4F21-99C5-F5EADA06D3B6}">
      <dgm:prSet/>
      <dgm:spPr/>
      <dgm:t>
        <a:bodyPr/>
        <a:lstStyle/>
        <a:p>
          <a:endParaRPr lang="en-US"/>
        </a:p>
      </dgm:t>
    </dgm:pt>
    <dgm:pt modelId="{40235C9D-7692-4244-97C2-DBBB4D4D2FF7}" type="parTrans" cxnId="{6DFA7CD7-E4D5-4B9A-8434-F7993BC48BA4}">
      <dgm:prSet/>
      <dgm:spPr/>
      <dgm:t>
        <a:bodyPr/>
        <a:lstStyle/>
        <a:p>
          <a:endParaRPr lang="en-US"/>
        </a:p>
      </dgm:t>
    </dgm:pt>
    <dgm:pt modelId="{6231BEAF-70FD-4AEB-A281-E1C3F7CDE657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it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Festività</a:t>
          </a:r>
          <a:endParaRPr lang="en-US"/>
        </a:p>
      </dgm:t>
    </dgm:pt>
    <dgm:pt modelId="{D81DA91B-005B-4E14-AFDF-C8B3B3160C6B}" type="sibTrans" cxnId="{6DFA7CD7-E4D5-4B9A-8434-F7993BC48BA4}">
      <dgm:prSet/>
      <dgm:spPr/>
      <dgm:t>
        <a:bodyPr/>
        <a:lstStyle/>
        <a:p>
          <a:endParaRPr lang="en-US"/>
        </a:p>
      </dgm:t>
    </dgm:pt>
    <dgm:pt modelId="{D5730169-979E-469C-ABDC-5BB87EC4A7D0}" type="parTrans" cxnId="{513612FE-486E-4976-ACDE-08AF54192C34}">
      <dgm:prSet/>
      <dgm:spPr/>
      <dgm:t>
        <a:bodyPr/>
        <a:lstStyle/>
        <a:p>
          <a:endParaRPr lang="en-US"/>
        </a:p>
      </dgm:t>
    </dgm:pt>
    <dgm:pt modelId="{27B0C93C-65AD-44AE-BD1D-79565B1AB665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it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asti</a:t>
          </a:r>
          <a:endParaRPr lang="en-US"/>
        </a:p>
      </dgm:t>
    </dgm:pt>
    <dgm:pt modelId="{FFF4DE70-A941-428D-AD23-FDC4AC01E7E7}" type="sibTrans" cxnId="{513612FE-486E-4976-ACDE-08AF54192C34}">
      <dgm:prSet/>
      <dgm:spPr/>
      <dgm:t>
        <a:bodyPr/>
        <a:lstStyle/>
        <a:p>
          <a:endParaRPr lang="en-US"/>
        </a:p>
      </dgm:t>
    </dgm:pt>
    <dgm:pt modelId="{6BBA676C-6505-47E3-B24D-7F015100F287}" type="parTrans" cxnId="{1D39BABB-E8DF-4076-B6B3-E3688A563305}">
      <dgm:prSet/>
      <dgm:spPr/>
      <dgm:t>
        <a:bodyPr/>
        <a:lstStyle/>
        <a:p>
          <a:endParaRPr lang="en-US"/>
        </a:p>
      </dgm:t>
    </dgm:pt>
    <dgm:pt modelId="{97980F97-FD8E-4850-8583-B12FD0A71EDD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it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ferenze e fiere</a:t>
          </a:r>
          <a:endParaRPr lang="en-US"/>
        </a:p>
      </dgm:t>
    </dgm:pt>
    <dgm:pt modelId="{07441A10-64D9-4416-B8F3-0938FE902A71}" type="sibTrans" cxnId="{1D39BABB-E8DF-4076-B6B3-E3688A563305}">
      <dgm:prSet/>
      <dgm:spPr/>
      <dgm:t>
        <a:bodyPr/>
        <a:lstStyle/>
        <a:p>
          <a:endParaRPr lang="en-US"/>
        </a:p>
      </dgm:t>
    </dgm:pt>
    <dgm:pt modelId="{DFC14506-07D7-4BAC-AF9E-C1E3B04DA640}" type="parTrans" cxnId="{6BE824E8-43C4-41E7-AEF5-511D0E0B2733}">
      <dgm:prSet/>
      <dgm:spPr/>
      <dgm:t>
        <a:bodyPr/>
        <a:lstStyle/>
        <a:p>
          <a:endParaRPr lang="en-US"/>
        </a:p>
      </dgm:t>
    </dgm:pt>
    <dgm:pt modelId="{349FD996-44AE-4207-8571-5AD7FE467F82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it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Viaggi di lavoro</a:t>
          </a:r>
          <a:endParaRPr lang="en-US"/>
        </a:p>
      </dgm:t>
    </dgm:pt>
    <dgm:pt modelId="{429D8192-9264-4781-9A0B-4D8DF4D0516E}" type="sibTrans" cxnId="{6BE824E8-43C4-41E7-AEF5-511D0E0B2733}">
      <dgm:prSet/>
      <dgm:spPr/>
      <dgm:t>
        <a:bodyPr/>
        <a:lstStyle/>
        <a:p>
          <a:endParaRPr lang="en-US"/>
        </a:p>
      </dgm:t>
    </dgm:pt>
    <dgm:pt modelId="{5955E5F5-4EA7-43CB-959C-41431C3D878F}" type="parTrans" cxnId="{8FCCDE63-1AE9-48EE-87F0-E7875ABCC33C}">
      <dgm:prSet/>
      <dgm:spPr/>
      <dgm:t>
        <a:bodyPr/>
        <a:lstStyle/>
        <a:p>
          <a:endParaRPr lang="en-US"/>
        </a:p>
      </dgm:t>
    </dgm:pt>
    <dgm:pt modelId="{253C37E7-9A9E-4D16-802A-A24456CEAAE1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it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Lavoratori da remoto e da casa</a:t>
          </a:r>
          <a:endParaRPr lang="en-US"/>
        </a:p>
      </dgm:t>
    </dgm:pt>
    <dgm:pt modelId="{FE96DB33-C5B7-4DEB-82B2-0B1CE90A4D2B}" type="sibTrans" cxnId="{8FCCDE63-1AE9-48EE-87F0-E7875ABCC33C}">
      <dgm:prSet/>
      <dgm:spPr/>
      <dgm:t>
        <a:bodyPr/>
        <a:lstStyle/>
        <a:p>
          <a:endParaRPr lang="en-US"/>
        </a:p>
      </dgm:t>
    </dgm:pt>
    <dgm:pt modelId="{C3088A38-995F-4EC6-9F78-BAFAEAF4162C}" type="pres">
      <dgm:prSet presAssocID="{3F388ED1-67EA-4C52-A4EF-B33800D3CCFC}" presName="root" presStyleCnt="0">
        <dgm:presLayoutVars>
          <dgm:dir/>
          <dgm:resizeHandles val="exact"/>
        </dgm:presLayoutVars>
      </dgm:prSet>
      <dgm:spPr/>
    </dgm:pt>
    <dgm:pt modelId="{D05E4E73-9587-4A56-B8AA-2D6161B9C368}" type="pres">
      <dgm:prSet presAssocID="{6765D87C-7CC0-41A0-B409-35F7C6713B98}" presName="compNode" presStyleCnt="0"/>
      <dgm:spPr/>
    </dgm:pt>
    <dgm:pt modelId="{D99A27DE-1A9D-4CFC-BE2E-D6325D4C73B2}" type="pres">
      <dgm:prSet presAssocID="{6765D87C-7CC0-41A0-B409-35F7C6713B98}" presName="iconRect" presStyleLbl="nod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all center"/>
        </a:ext>
      </dgm:extLst>
    </dgm:pt>
    <dgm:pt modelId="{8667B507-D177-4EC0-A407-1521B796D904}" type="pres">
      <dgm:prSet presAssocID="{6765D87C-7CC0-41A0-B409-35F7C6713B98}" presName="spaceRect" presStyleCnt="0"/>
      <dgm:spPr/>
    </dgm:pt>
    <dgm:pt modelId="{79FCE879-EDA8-4A56-B9E8-3934B4682EB9}" type="pres">
      <dgm:prSet presAssocID="{6765D87C-7CC0-41A0-B409-35F7C6713B98}" presName="textRect" presStyleLbl="revTx" presStyleIdx="0" presStyleCnt="6">
        <dgm:presLayoutVars>
          <dgm:chMax val="1"/>
          <dgm:chPref val="1"/>
        </dgm:presLayoutVars>
      </dgm:prSet>
      <dgm:spPr/>
    </dgm:pt>
    <dgm:pt modelId="{6E752127-53E6-4E86-8330-1CDB423EB111}" type="pres">
      <dgm:prSet presAssocID="{4C6C75F7-926F-45DD-9F25-3A9FC1E581A0}" presName="sibTrans" presStyleCnt="0"/>
      <dgm:spPr/>
    </dgm:pt>
    <dgm:pt modelId="{4425BB72-67F0-47AF-9B82-CA0521543AF0}" type="pres">
      <dgm:prSet presAssocID="{6231BEAF-70FD-4AEB-A281-E1C3F7CDE657}" presName="compNode" presStyleCnt="0"/>
      <dgm:spPr/>
    </dgm:pt>
    <dgm:pt modelId="{B02E9D7E-F6E6-43AD-AAC9-B8DAE5007E4C}" type="pres">
      <dgm:prSet presAssocID="{6231BEAF-70FD-4AEB-A281-E1C3F7CDE657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esent"/>
        </a:ext>
      </dgm:extLst>
    </dgm:pt>
    <dgm:pt modelId="{47A43DDC-EDCF-451A-BC7A-3BA7127C9D9D}" type="pres">
      <dgm:prSet presAssocID="{6231BEAF-70FD-4AEB-A281-E1C3F7CDE657}" presName="spaceRect" presStyleCnt="0"/>
      <dgm:spPr/>
    </dgm:pt>
    <dgm:pt modelId="{C645D0FB-691D-4DD1-A770-EFD951B22D94}" type="pres">
      <dgm:prSet presAssocID="{6231BEAF-70FD-4AEB-A281-E1C3F7CDE657}" presName="textRect" presStyleLbl="revTx" presStyleIdx="1" presStyleCnt="6">
        <dgm:presLayoutVars>
          <dgm:chMax val="1"/>
          <dgm:chPref val="1"/>
        </dgm:presLayoutVars>
      </dgm:prSet>
      <dgm:spPr/>
    </dgm:pt>
    <dgm:pt modelId="{81722C06-5ED7-488E-B671-DA04CF4D005E}" type="pres">
      <dgm:prSet presAssocID="{D81DA91B-005B-4E14-AFDF-C8B3B3160C6B}" presName="sibTrans" presStyleCnt="0"/>
      <dgm:spPr/>
    </dgm:pt>
    <dgm:pt modelId="{492226F2-ECB5-4A9A-83B3-1D3658F8ECC7}" type="pres">
      <dgm:prSet presAssocID="{27B0C93C-65AD-44AE-BD1D-79565B1AB665}" presName="compNode" presStyleCnt="0"/>
      <dgm:spPr/>
    </dgm:pt>
    <dgm:pt modelId="{4E3EF8FC-D81C-4C6A-806C-EA4743F4BA77}" type="pres">
      <dgm:prSet presAssocID="{27B0C93C-65AD-44AE-BD1D-79565B1AB665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ork and knife"/>
        </a:ext>
      </dgm:extLst>
    </dgm:pt>
    <dgm:pt modelId="{28B72FB2-153D-41A2-BD5A-3D59DFAA907C}" type="pres">
      <dgm:prSet presAssocID="{27B0C93C-65AD-44AE-BD1D-79565B1AB665}" presName="spaceRect" presStyleCnt="0"/>
      <dgm:spPr/>
    </dgm:pt>
    <dgm:pt modelId="{055E8662-2533-42D8-B4B8-521917D7DEAC}" type="pres">
      <dgm:prSet presAssocID="{27B0C93C-65AD-44AE-BD1D-79565B1AB665}" presName="textRect" presStyleLbl="revTx" presStyleIdx="2" presStyleCnt="6">
        <dgm:presLayoutVars>
          <dgm:chMax val="1"/>
          <dgm:chPref val="1"/>
        </dgm:presLayoutVars>
      </dgm:prSet>
      <dgm:spPr/>
    </dgm:pt>
    <dgm:pt modelId="{F24FB88B-8951-44CD-B4BE-2C3E45E0842B}" type="pres">
      <dgm:prSet presAssocID="{FFF4DE70-A941-428D-AD23-FDC4AC01E7E7}" presName="sibTrans" presStyleCnt="0"/>
      <dgm:spPr/>
    </dgm:pt>
    <dgm:pt modelId="{01DDB054-2946-4508-A072-B38236E42C83}" type="pres">
      <dgm:prSet presAssocID="{97980F97-FD8E-4850-8583-B12FD0A71EDD}" presName="compNode" presStyleCnt="0"/>
      <dgm:spPr/>
    </dgm:pt>
    <dgm:pt modelId="{57CC4C62-BD4B-45BD-83D8-0A29B71FFADD}" type="pres">
      <dgm:prSet presAssocID="{97980F97-FD8E-4850-8583-B12FD0A71EDD}" presName="iconRect" presStyleLbl="node1" presStyleIdx="3" presStyleCnt="6" custLinFactNeighborX="9279" custLinFactNeighborY="11367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86E0AAC4-6666-4366-86EF-3252C8C6CA8F}" type="pres">
      <dgm:prSet presAssocID="{97980F97-FD8E-4850-8583-B12FD0A71EDD}" presName="spaceRect" presStyleCnt="0"/>
      <dgm:spPr/>
    </dgm:pt>
    <dgm:pt modelId="{C247C313-91DA-4206-839D-B34E91EFC201}" type="pres">
      <dgm:prSet presAssocID="{97980F97-FD8E-4850-8583-B12FD0A71EDD}" presName="textRect" presStyleLbl="revTx" presStyleIdx="3" presStyleCnt="6" custLinFactNeighborX="3574" custLinFactNeighborY="-6017">
        <dgm:presLayoutVars>
          <dgm:chMax val="1"/>
          <dgm:chPref val="1"/>
        </dgm:presLayoutVars>
      </dgm:prSet>
      <dgm:spPr/>
    </dgm:pt>
    <dgm:pt modelId="{C71F7B83-B8BC-43D9-B497-AE47E4C88717}" type="pres">
      <dgm:prSet presAssocID="{07441A10-64D9-4416-B8F3-0938FE902A71}" presName="sibTrans" presStyleCnt="0"/>
      <dgm:spPr/>
    </dgm:pt>
    <dgm:pt modelId="{5695538A-F7DD-43EC-A3B0-2C1F8C3AF035}" type="pres">
      <dgm:prSet presAssocID="{349FD996-44AE-4207-8571-5AD7FE467F82}" presName="compNode" presStyleCnt="0"/>
      <dgm:spPr/>
    </dgm:pt>
    <dgm:pt modelId="{E86A0C04-E9B4-4015-A6A8-3FB1046B29CE}" type="pres">
      <dgm:prSet presAssocID="{349FD996-44AE-4207-8571-5AD7FE467F82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Airplane"/>
        </a:ext>
      </dgm:extLst>
    </dgm:pt>
    <dgm:pt modelId="{D2D79CFB-0CF4-4C0C-BEB0-EA6D92F581EA}" type="pres">
      <dgm:prSet presAssocID="{349FD996-44AE-4207-8571-5AD7FE467F82}" presName="spaceRect" presStyleCnt="0"/>
      <dgm:spPr/>
    </dgm:pt>
    <dgm:pt modelId="{4218699A-9F44-43C4-BACD-AFA07472911A}" type="pres">
      <dgm:prSet presAssocID="{349FD996-44AE-4207-8571-5AD7FE467F82}" presName="textRect" presStyleLbl="revTx" presStyleIdx="4" presStyleCnt="6">
        <dgm:presLayoutVars>
          <dgm:chMax val="1"/>
          <dgm:chPref val="1"/>
        </dgm:presLayoutVars>
      </dgm:prSet>
      <dgm:spPr/>
    </dgm:pt>
    <dgm:pt modelId="{0054ECED-2F46-4FA7-AC87-F6DA2C7F139B}" type="pres">
      <dgm:prSet presAssocID="{429D8192-9264-4781-9A0B-4D8DF4D0516E}" presName="sibTrans" presStyleCnt="0"/>
      <dgm:spPr/>
    </dgm:pt>
    <dgm:pt modelId="{07CB86F6-7387-449F-BCEA-84E42CC7E22F}" type="pres">
      <dgm:prSet presAssocID="{253C37E7-9A9E-4D16-802A-A24456CEAAE1}" presName="compNode" presStyleCnt="0"/>
      <dgm:spPr/>
    </dgm:pt>
    <dgm:pt modelId="{5421B5D6-8F0B-4CBE-B7B3-DBCDD202F370}" type="pres">
      <dgm:prSet presAssocID="{253C37E7-9A9E-4D16-802A-A24456CEAAE1}" presName="iconRect" presStyleLbl="node1" presStyleIdx="5" presStyleCnt="6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onitor"/>
        </a:ext>
      </dgm:extLst>
    </dgm:pt>
    <dgm:pt modelId="{EBBF4D40-2EF1-4012-ABEC-74915D189F7E}" type="pres">
      <dgm:prSet presAssocID="{253C37E7-9A9E-4D16-802A-A24456CEAAE1}" presName="spaceRect" presStyleCnt="0"/>
      <dgm:spPr/>
    </dgm:pt>
    <dgm:pt modelId="{F8CD23AD-0F84-4328-BCA7-961CDC0F9CC6}" type="pres">
      <dgm:prSet presAssocID="{253C37E7-9A9E-4D16-802A-A24456CEAAE1}" presName="textRect" presStyleLbl="revTx" presStyleIdx="5" presStyleCnt="6">
        <dgm:presLayoutVars>
          <dgm:chMax val="1"/>
          <dgm:chPref val="1"/>
        </dgm:presLayoutVars>
      </dgm:prSet>
      <dgm:spPr/>
    </dgm:pt>
  </dgm:ptLst>
  <dgm:cxnLst>
    <dgm:cxn modelId="{E75F7A12-FFB0-4F21-99C5-F5EADA06D3B6}" srcId="{3F388ED1-67EA-4C52-A4EF-B33800D3CCFC}" destId="{6765D87C-7CC0-41A0-B409-35F7C6713B98}" srcOrd="0" destOrd="0" parTransId="{24C96D5D-A300-45E1-8162-B0468AA37BF6}" sibTransId="{4C6C75F7-926F-45DD-9F25-3A9FC1E581A0}"/>
    <dgm:cxn modelId="{70F5291C-0F73-4298-8238-1B097E8B98C7}" type="presOf" srcId="{97980F97-FD8E-4850-8583-B12FD0A71EDD}" destId="{C247C313-91DA-4206-839D-B34E91EFC201}" srcOrd="0" destOrd="0" presId="urn:microsoft.com/office/officeart/2018/2/layout/IconLabelList"/>
    <dgm:cxn modelId="{8FCCDE63-1AE9-48EE-87F0-E7875ABCC33C}" srcId="{3F388ED1-67EA-4C52-A4EF-B33800D3CCFC}" destId="{253C37E7-9A9E-4D16-802A-A24456CEAAE1}" srcOrd="5" destOrd="0" parTransId="{5955E5F5-4EA7-43CB-959C-41431C3D878F}" sibTransId="{FE96DB33-C5B7-4DEB-82B2-0B1CE90A4D2B}"/>
    <dgm:cxn modelId="{A1CE4545-91D3-4923-AE18-0103951B7977}" type="presOf" srcId="{6231BEAF-70FD-4AEB-A281-E1C3F7CDE657}" destId="{C645D0FB-691D-4DD1-A770-EFD951B22D94}" srcOrd="0" destOrd="0" presId="urn:microsoft.com/office/officeart/2018/2/layout/IconLabelList"/>
    <dgm:cxn modelId="{DA93A766-F20B-4CC4-975F-6C7F33529F02}" type="presOf" srcId="{349FD996-44AE-4207-8571-5AD7FE467F82}" destId="{4218699A-9F44-43C4-BACD-AFA07472911A}" srcOrd="0" destOrd="0" presId="urn:microsoft.com/office/officeart/2018/2/layout/IconLabelList"/>
    <dgm:cxn modelId="{3B3A3B47-85EE-40EE-891B-E2ADC4A463A0}" type="presOf" srcId="{27B0C93C-65AD-44AE-BD1D-79565B1AB665}" destId="{055E8662-2533-42D8-B4B8-521917D7DEAC}" srcOrd="0" destOrd="0" presId="urn:microsoft.com/office/officeart/2018/2/layout/IconLabelList"/>
    <dgm:cxn modelId="{D494EF8D-02A9-492D-B518-115AA8EF4D30}" type="presOf" srcId="{3F388ED1-67EA-4C52-A4EF-B33800D3CCFC}" destId="{C3088A38-995F-4EC6-9F78-BAFAEAF4162C}" srcOrd="0" destOrd="0" presId="urn:microsoft.com/office/officeart/2018/2/layout/IconLabelList"/>
    <dgm:cxn modelId="{92D68FAD-0505-4383-A1AB-D7537FAF730B}" type="presOf" srcId="{6765D87C-7CC0-41A0-B409-35F7C6713B98}" destId="{79FCE879-EDA8-4A56-B9E8-3934B4682EB9}" srcOrd="0" destOrd="0" presId="urn:microsoft.com/office/officeart/2018/2/layout/IconLabelList"/>
    <dgm:cxn modelId="{1D39BABB-E8DF-4076-B6B3-E3688A563305}" srcId="{3F388ED1-67EA-4C52-A4EF-B33800D3CCFC}" destId="{97980F97-FD8E-4850-8583-B12FD0A71EDD}" srcOrd="3" destOrd="0" parTransId="{6BBA676C-6505-47E3-B24D-7F015100F287}" sibTransId="{07441A10-64D9-4416-B8F3-0938FE902A71}"/>
    <dgm:cxn modelId="{6DFA7CD7-E4D5-4B9A-8434-F7993BC48BA4}" srcId="{3F388ED1-67EA-4C52-A4EF-B33800D3CCFC}" destId="{6231BEAF-70FD-4AEB-A281-E1C3F7CDE657}" srcOrd="1" destOrd="0" parTransId="{40235C9D-7692-4244-97C2-DBBB4D4D2FF7}" sibTransId="{D81DA91B-005B-4E14-AFDF-C8B3B3160C6B}"/>
    <dgm:cxn modelId="{52A2B9E6-4F32-42C8-A75F-2EA6BC33498F}" type="presOf" srcId="{253C37E7-9A9E-4D16-802A-A24456CEAAE1}" destId="{F8CD23AD-0F84-4328-BCA7-961CDC0F9CC6}" srcOrd="0" destOrd="0" presId="urn:microsoft.com/office/officeart/2018/2/layout/IconLabelList"/>
    <dgm:cxn modelId="{6BE824E8-43C4-41E7-AEF5-511D0E0B2733}" srcId="{3F388ED1-67EA-4C52-A4EF-B33800D3CCFC}" destId="{349FD996-44AE-4207-8571-5AD7FE467F82}" srcOrd="4" destOrd="0" parTransId="{DFC14506-07D7-4BAC-AF9E-C1E3B04DA640}" sibTransId="{429D8192-9264-4781-9A0B-4D8DF4D0516E}"/>
    <dgm:cxn modelId="{513612FE-486E-4976-ACDE-08AF54192C34}" srcId="{3F388ED1-67EA-4C52-A4EF-B33800D3CCFC}" destId="{27B0C93C-65AD-44AE-BD1D-79565B1AB665}" srcOrd="2" destOrd="0" parTransId="{D5730169-979E-469C-ABDC-5BB87EC4A7D0}" sibTransId="{FFF4DE70-A941-428D-AD23-FDC4AC01E7E7}"/>
    <dgm:cxn modelId="{41696B4E-9D77-4560-9C94-BAC78435E70E}" type="presParOf" srcId="{C3088A38-995F-4EC6-9F78-BAFAEAF4162C}" destId="{D05E4E73-9587-4A56-B8AA-2D6161B9C368}" srcOrd="0" destOrd="0" presId="urn:microsoft.com/office/officeart/2018/2/layout/IconLabelList"/>
    <dgm:cxn modelId="{63D7C54B-77A0-4D0B-88EE-5F1863DAFFC7}" type="presParOf" srcId="{D05E4E73-9587-4A56-B8AA-2D6161B9C368}" destId="{D99A27DE-1A9D-4CFC-BE2E-D6325D4C73B2}" srcOrd="0" destOrd="0" presId="urn:microsoft.com/office/officeart/2018/2/layout/IconLabelList"/>
    <dgm:cxn modelId="{666CAC2F-AA81-4907-9B09-8C78F6783BBD}" type="presParOf" srcId="{D05E4E73-9587-4A56-B8AA-2D6161B9C368}" destId="{8667B507-D177-4EC0-A407-1521B796D904}" srcOrd="1" destOrd="0" presId="urn:microsoft.com/office/officeart/2018/2/layout/IconLabelList"/>
    <dgm:cxn modelId="{030F38BE-BDC6-46E1-9A71-4F9090CC6372}" type="presParOf" srcId="{D05E4E73-9587-4A56-B8AA-2D6161B9C368}" destId="{79FCE879-EDA8-4A56-B9E8-3934B4682EB9}" srcOrd="2" destOrd="0" presId="urn:microsoft.com/office/officeart/2018/2/layout/IconLabelList"/>
    <dgm:cxn modelId="{9C4B4568-8E33-4D0E-A911-94F34EBB41AE}" type="presParOf" srcId="{C3088A38-995F-4EC6-9F78-BAFAEAF4162C}" destId="{6E752127-53E6-4E86-8330-1CDB423EB111}" srcOrd="1" destOrd="0" presId="urn:microsoft.com/office/officeart/2018/2/layout/IconLabelList"/>
    <dgm:cxn modelId="{FB6A0085-7512-4959-81A2-E17E6A7C772C}" type="presParOf" srcId="{C3088A38-995F-4EC6-9F78-BAFAEAF4162C}" destId="{4425BB72-67F0-47AF-9B82-CA0521543AF0}" srcOrd="2" destOrd="0" presId="urn:microsoft.com/office/officeart/2018/2/layout/IconLabelList"/>
    <dgm:cxn modelId="{39E95E12-AA84-4F76-A412-85956F77C47F}" type="presParOf" srcId="{4425BB72-67F0-47AF-9B82-CA0521543AF0}" destId="{B02E9D7E-F6E6-43AD-AAC9-B8DAE5007E4C}" srcOrd="0" destOrd="0" presId="urn:microsoft.com/office/officeart/2018/2/layout/IconLabelList"/>
    <dgm:cxn modelId="{EB6CC558-8989-492B-8CEB-B9FDDC3E801E}" type="presParOf" srcId="{4425BB72-67F0-47AF-9B82-CA0521543AF0}" destId="{47A43DDC-EDCF-451A-BC7A-3BA7127C9D9D}" srcOrd="1" destOrd="0" presId="urn:microsoft.com/office/officeart/2018/2/layout/IconLabelList"/>
    <dgm:cxn modelId="{855AD8C4-5DE9-4D7E-9313-E9C17C046C29}" type="presParOf" srcId="{4425BB72-67F0-47AF-9B82-CA0521543AF0}" destId="{C645D0FB-691D-4DD1-A770-EFD951B22D94}" srcOrd="2" destOrd="0" presId="urn:microsoft.com/office/officeart/2018/2/layout/IconLabelList"/>
    <dgm:cxn modelId="{CFED1B17-7237-442F-97E9-5C359C28A982}" type="presParOf" srcId="{C3088A38-995F-4EC6-9F78-BAFAEAF4162C}" destId="{81722C06-5ED7-488E-B671-DA04CF4D005E}" srcOrd="3" destOrd="0" presId="urn:microsoft.com/office/officeart/2018/2/layout/IconLabelList"/>
    <dgm:cxn modelId="{350C93C4-C216-4B58-A31A-971A36EE6FEB}" type="presParOf" srcId="{C3088A38-995F-4EC6-9F78-BAFAEAF4162C}" destId="{492226F2-ECB5-4A9A-83B3-1D3658F8ECC7}" srcOrd="4" destOrd="0" presId="urn:microsoft.com/office/officeart/2018/2/layout/IconLabelList"/>
    <dgm:cxn modelId="{B0EECFA0-3AB4-467B-B9D4-819249716623}" type="presParOf" srcId="{492226F2-ECB5-4A9A-83B3-1D3658F8ECC7}" destId="{4E3EF8FC-D81C-4C6A-806C-EA4743F4BA77}" srcOrd="0" destOrd="0" presId="urn:microsoft.com/office/officeart/2018/2/layout/IconLabelList"/>
    <dgm:cxn modelId="{A4317D06-7972-40E7-BF64-C48000865424}" type="presParOf" srcId="{492226F2-ECB5-4A9A-83B3-1D3658F8ECC7}" destId="{28B72FB2-153D-41A2-BD5A-3D59DFAA907C}" srcOrd="1" destOrd="0" presId="urn:microsoft.com/office/officeart/2018/2/layout/IconLabelList"/>
    <dgm:cxn modelId="{5FAA3F09-3FE9-42C8-96B3-38DCE8EB3D77}" type="presParOf" srcId="{492226F2-ECB5-4A9A-83B3-1D3658F8ECC7}" destId="{055E8662-2533-42D8-B4B8-521917D7DEAC}" srcOrd="2" destOrd="0" presId="urn:microsoft.com/office/officeart/2018/2/layout/IconLabelList"/>
    <dgm:cxn modelId="{2D95C02E-A7D9-4E66-A55A-3DD819BEA1B2}" type="presParOf" srcId="{C3088A38-995F-4EC6-9F78-BAFAEAF4162C}" destId="{F24FB88B-8951-44CD-B4BE-2C3E45E0842B}" srcOrd="5" destOrd="0" presId="urn:microsoft.com/office/officeart/2018/2/layout/IconLabelList"/>
    <dgm:cxn modelId="{2D525143-2D40-444F-B19E-048DC250226F}" type="presParOf" srcId="{C3088A38-995F-4EC6-9F78-BAFAEAF4162C}" destId="{01DDB054-2946-4508-A072-B38236E42C83}" srcOrd="6" destOrd="0" presId="urn:microsoft.com/office/officeart/2018/2/layout/IconLabelList"/>
    <dgm:cxn modelId="{E6B24415-4C6F-4AFC-921E-EAAB9FC1B5E4}" type="presParOf" srcId="{01DDB054-2946-4508-A072-B38236E42C83}" destId="{57CC4C62-BD4B-45BD-83D8-0A29B71FFADD}" srcOrd="0" destOrd="0" presId="urn:microsoft.com/office/officeart/2018/2/layout/IconLabelList"/>
    <dgm:cxn modelId="{50E01518-B7DA-40CA-AD7F-61618292CCF1}" type="presParOf" srcId="{01DDB054-2946-4508-A072-B38236E42C83}" destId="{86E0AAC4-6666-4366-86EF-3252C8C6CA8F}" srcOrd="1" destOrd="0" presId="urn:microsoft.com/office/officeart/2018/2/layout/IconLabelList"/>
    <dgm:cxn modelId="{173BD4C6-D27B-4204-98EE-E59E872A0A98}" type="presParOf" srcId="{01DDB054-2946-4508-A072-B38236E42C83}" destId="{C247C313-91DA-4206-839D-B34E91EFC201}" srcOrd="2" destOrd="0" presId="urn:microsoft.com/office/officeart/2018/2/layout/IconLabelList"/>
    <dgm:cxn modelId="{BE621B1D-58D0-4025-B3AF-DFC705944B5B}" type="presParOf" srcId="{C3088A38-995F-4EC6-9F78-BAFAEAF4162C}" destId="{C71F7B83-B8BC-43D9-B497-AE47E4C88717}" srcOrd="7" destOrd="0" presId="urn:microsoft.com/office/officeart/2018/2/layout/IconLabelList"/>
    <dgm:cxn modelId="{7FCD0C0A-BD84-47CA-861E-01CD335C9A35}" type="presParOf" srcId="{C3088A38-995F-4EC6-9F78-BAFAEAF4162C}" destId="{5695538A-F7DD-43EC-A3B0-2C1F8C3AF035}" srcOrd="8" destOrd="0" presId="urn:microsoft.com/office/officeart/2018/2/layout/IconLabelList"/>
    <dgm:cxn modelId="{89B85641-E398-4974-8A29-A62F59F1D409}" type="presParOf" srcId="{5695538A-F7DD-43EC-A3B0-2C1F8C3AF035}" destId="{E86A0C04-E9B4-4015-A6A8-3FB1046B29CE}" srcOrd="0" destOrd="0" presId="urn:microsoft.com/office/officeart/2018/2/layout/IconLabelList"/>
    <dgm:cxn modelId="{14747B35-9A30-4DC5-B631-FF08AD39F187}" type="presParOf" srcId="{5695538A-F7DD-43EC-A3B0-2C1F8C3AF035}" destId="{D2D79CFB-0CF4-4C0C-BEB0-EA6D92F581EA}" srcOrd="1" destOrd="0" presId="urn:microsoft.com/office/officeart/2018/2/layout/IconLabelList"/>
    <dgm:cxn modelId="{0253D21E-B129-47F8-98FD-AFA856863876}" type="presParOf" srcId="{5695538A-F7DD-43EC-A3B0-2C1F8C3AF035}" destId="{4218699A-9F44-43C4-BACD-AFA07472911A}" srcOrd="2" destOrd="0" presId="urn:microsoft.com/office/officeart/2018/2/layout/IconLabelList"/>
    <dgm:cxn modelId="{B9374A27-AC30-4836-8169-02A254EF78C2}" type="presParOf" srcId="{C3088A38-995F-4EC6-9F78-BAFAEAF4162C}" destId="{0054ECED-2F46-4FA7-AC87-F6DA2C7F139B}" srcOrd="9" destOrd="0" presId="urn:microsoft.com/office/officeart/2018/2/layout/IconLabelList"/>
    <dgm:cxn modelId="{FE240F7D-806B-42C8-950D-7444CB0E3EF3}" type="presParOf" srcId="{C3088A38-995F-4EC6-9F78-BAFAEAF4162C}" destId="{07CB86F6-7387-449F-BCEA-84E42CC7E22F}" srcOrd="10" destOrd="0" presId="urn:microsoft.com/office/officeart/2018/2/layout/IconLabelList"/>
    <dgm:cxn modelId="{8F030555-22EA-40E2-ABA7-A6FC94A914D4}" type="presParOf" srcId="{07CB86F6-7387-449F-BCEA-84E42CC7E22F}" destId="{5421B5D6-8F0B-4CBE-B7B3-DBCDD202F370}" srcOrd="0" destOrd="0" presId="urn:microsoft.com/office/officeart/2018/2/layout/IconLabelList"/>
    <dgm:cxn modelId="{CFD4150F-055A-4957-B1D6-6EB1E175E676}" type="presParOf" srcId="{07CB86F6-7387-449F-BCEA-84E42CC7E22F}" destId="{EBBF4D40-2EF1-4012-ABEC-74915D189F7E}" srcOrd="1" destOrd="0" presId="urn:microsoft.com/office/officeart/2018/2/layout/IconLabelList"/>
    <dgm:cxn modelId="{4C1A833C-35FA-4A4A-815F-A2624FFC0285}" type="presParOf" srcId="{07CB86F6-7387-449F-BCEA-84E42CC7E22F}" destId="{F8CD23AD-0F84-4328-BCA7-961CDC0F9CC6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BCA4F3-8F30-418C-9B3B-9FAE6FBB2AFD}">
      <dsp:nvSpPr>
        <dsp:cNvPr id="0" name=""/>
        <dsp:cNvSpPr/>
      </dsp:nvSpPr>
      <dsp:spPr>
        <a:xfrm>
          <a:off x="0" y="2009"/>
          <a:ext cx="8074836" cy="10185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1DE14D-271D-4E48-A734-F66D4AA6B04D}">
      <dsp:nvSpPr>
        <dsp:cNvPr id="0" name=""/>
        <dsp:cNvSpPr/>
      </dsp:nvSpPr>
      <dsp:spPr>
        <a:xfrm>
          <a:off x="308107" y="231180"/>
          <a:ext cx="560195" cy="56019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EBE8A2-D7D4-4676-91C2-0669EA92AE50}">
      <dsp:nvSpPr>
        <dsp:cNvPr id="0" name=""/>
        <dsp:cNvSpPr/>
      </dsp:nvSpPr>
      <dsp:spPr>
        <a:xfrm>
          <a:off x="1176411" y="2009"/>
          <a:ext cx="6898424" cy="10185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795" tIns="107795" rIns="107795" bIns="107795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9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utti vogliono far parte di un team rispettoso e di successo</a:t>
          </a:r>
          <a:endParaRPr lang="en-US" kern="1200"/>
        </a:p>
      </dsp:txBody>
      <dsp:txXfrm>
        <a:off x="1176411" y="2009"/>
        <a:ext cx="6898424" cy="1018537"/>
      </dsp:txXfrm>
    </dsp:sp>
    <dsp:sp modelId="{62399D1D-6A37-4655-9B96-57525ECC5F52}">
      <dsp:nvSpPr>
        <dsp:cNvPr id="0" name=""/>
        <dsp:cNvSpPr/>
      </dsp:nvSpPr>
      <dsp:spPr>
        <a:xfrm>
          <a:off x="0" y="1275181"/>
          <a:ext cx="8074836" cy="10185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1AAD55-36A6-40B9-B55F-EEF840079F1A}">
      <dsp:nvSpPr>
        <dsp:cNvPr id="0" name=""/>
        <dsp:cNvSpPr/>
      </dsp:nvSpPr>
      <dsp:spPr>
        <a:xfrm>
          <a:off x="308107" y="1504352"/>
          <a:ext cx="560195" cy="56019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9238B2-9DB9-4BD7-8219-1D04AF10EADE}">
      <dsp:nvSpPr>
        <dsp:cNvPr id="0" name=""/>
        <dsp:cNvSpPr/>
      </dsp:nvSpPr>
      <dsp:spPr>
        <a:xfrm>
          <a:off x="1176411" y="1275181"/>
          <a:ext cx="6898424" cy="10185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795" tIns="107795" rIns="107795" bIns="107795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9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Il V&amp;E del 168 sostiene i principi di prevenzione di discriminazioni e molestie, che richiedono l’impegno di tutti</a:t>
          </a:r>
          <a:endParaRPr lang="en-US" kern="1200"/>
        </a:p>
      </dsp:txBody>
      <dsp:txXfrm>
        <a:off x="1176411" y="1275181"/>
        <a:ext cx="6898424" cy="1018537"/>
      </dsp:txXfrm>
    </dsp:sp>
    <dsp:sp modelId="{2194DC87-0EB3-47A9-A710-50B67ABE9595}">
      <dsp:nvSpPr>
        <dsp:cNvPr id="0" name=""/>
        <dsp:cNvSpPr/>
      </dsp:nvSpPr>
      <dsp:spPr>
        <a:xfrm>
          <a:off x="0" y="2548354"/>
          <a:ext cx="8074836" cy="10185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043F58-D2C7-4873-8DE7-E85D1568F29E}">
      <dsp:nvSpPr>
        <dsp:cNvPr id="0" name=""/>
        <dsp:cNvSpPr/>
      </dsp:nvSpPr>
      <dsp:spPr>
        <a:xfrm>
          <a:off x="308107" y="2777525"/>
          <a:ext cx="560195" cy="560195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1693E8-D0B4-4833-BD20-F0400943806F}">
      <dsp:nvSpPr>
        <dsp:cNvPr id="0" name=""/>
        <dsp:cNvSpPr/>
      </dsp:nvSpPr>
      <dsp:spPr>
        <a:xfrm>
          <a:off x="1176411" y="2548354"/>
          <a:ext cx="6898424" cy="10185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795" tIns="107795" rIns="107795" bIns="107795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9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RPM non tollera in alcuna forma mancanza di rispetto, molestie o discriminazione</a:t>
          </a:r>
          <a:endParaRPr lang="en-US" kern="1200"/>
        </a:p>
      </dsp:txBody>
      <dsp:txXfrm>
        <a:off x="1176411" y="2548354"/>
        <a:ext cx="6898424" cy="1018537"/>
      </dsp:txXfrm>
    </dsp:sp>
    <dsp:sp modelId="{AEF938DC-0277-4425-B5AA-B6E145ABDF3E}">
      <dsp:nvSpPr>
        <dsp:cNvPr id="0" name=""/>
        <dsp:cNvSpPr/>
      </dsp:nvSpPr>
      <dsp:spPr>
        <a:xfrm>
          <a:off x="0" y="3821526"/>
          <a:ext cx="8074836" cy="10185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8DF815-E4EC-4C8B-89A3-02381B28C402}">
      <dsp:nvSpPr>
        <dsp:cNvPr id="0" name=""/>
        <dsp:cNvSpPr/>
      </dsp:nvSpPr>
      <dsp:spPr>
        <a:xfrm>
          <a:off x="308107" y="4050697"/>
          <a:ext cx="560195" cy="560195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931F5D-5E16-4A87-A9D2-51F34F2AEE47}">
      <dsp:nvSpPr>
        <dsp:cNvPr id="0" name=""/>
        <dsp:cNvSpPr/>
      </dsp:nvSpPr>
      <dsp:spPr>
        <a:xfrm>
          <a:off x="1176411" y="3821526"/>
          <a:ext cx="6898424" cy="10185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795" tIns="107795" rIns="107795" bIns="107795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9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utti noi dobbiamo assicurarci che la nostra condotta rifletta i valori di RPM e dobbiamo agire se vediamo una condotta impropria</a:t>
          </a:r>
          <a:endParaRPr lang="en-US" kern="1200"/>
        </a:p>
      </dsp:txBody>
      <dsp:txXfrm>
        <a:off x="1176411" y="3821526"/>
        <a:ext cx="6898424" cy="101853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F8FA57-199B-4FDE-9C3F-99E925313025}">
      <dsp:nvSpPr>
        <dsp:cNvPr id="0" name=""/>
        <dsp:cNvSpPr/>
      </dsp:nvSpPr>
      <dsp:spPr>
        <a:xfrm>
          <a:off x="129323" y="1740"/>
          <a:ext cx="3721994" cy="22331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2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l vostro comportamento mette a disagio le persone o crea conflitti non necessari?</a:t>
          </a:r>
          <a:endParaRPr lang="en-US" kern="1200"/>
        </a:p>
      </dsp:txBody>
      <dsp:txXfrm>
        <a:off x="129323" y="1740"/>
        <a:ext cx="3721994" cy="2233196"/>
      </dsp:txXfrm>
    </dsp:sp>
    <dsp:sp modelId="{8E972E1B-CF68-4A49-915B-097B6B17B149}">
      <dsp:nvSpPr>
        <dsp:cNvPr id="0" name=""/>
        <dsp:cNvSpPr/>
      </dsp:nvSpPr>
      <dsp:spPr>
        <a:xfrm>
          <a:off x="4223517" y="1740"/>
          <a:ext cx="3721994" cy="22331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2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aresti in imbarazzo se i tuoi amici, familiari o leader della comunità venissero a conoscenza del tuo comportamento?</a:t>
          </a:r>
          <a:endParaRPr lang="en-US" kern="1200"/>
        </a:p>
      </dsp:txBody>
      <dsp:txXfrm>
        <a:off x="4223517" y="1740"/>
        <a:ext cx="3721994" cy="2233196"/>
      </dsp:txXfrm>
    </dsp:sp>
    <dsp:sp modelId="{243CC102-BC16-4CF6-99B1-D3653BCF54DD}">
      <dsp:nvSpPr>
        <dsp:cNvPr id="0" name=""/>
        <dsp:cNvSpPr/>
      </dsp:nvSpPr>
      <dsp:spPr>
        <a:xfrm>
          <a:off x="129323" y="2607136"/>
          <a:ext cx="3721994" cy="22331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2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l tuo comportamento è rilevante o necessario per il tuo lavoro o le tue prestazioni?</a:t>
          </a:r>
          <a:endParaRPr lang="en-US" kern="1200"/>
        </a:p>
      </dsp:txBody>
      <dsp:txXfrm>
        <a:off x="129323" y="2607136"/>
        <a:ext cx="3721994" cy="2233196"/>
      </dsp:txXfrm>
    </dsp:sp>
    <dsp:sp modelId="{3345AED3-E8AE-40AD-B56E-281783EF31F5}">
      <dsp:nvSpPr>
        <dsp:cNvPr id="0" name=""/>
        <dsp:cNvSpPr/>
      </dsp:nvSpPr>
      <dsp:spPr>
        <a:xfrm>
          <a:off x="4223517" y="2607136"/>
          <a:ext cx="3721994" cy="22331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2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e rispondete sì a una qualsiasi di queste domande, pensate se ciò che state facendo o dicendo è appropriato.</a:t>
          </a:r>
          <a:endParaRPr lang="en-US" kern="1200"/>
        </a:p>
      </dsp:txBody>
      <dsp:txXfrm>
        <a:off x="4223517" y="2607136"/>
        <a:ext cx="3721994" cy="2233196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F51E0D-D045-4E2B-AB0C-4F2EC15C2742}">
      <dsp:nvSpPr>
        <dsp:cNvPr id="0" name=""/>
        <dsp:cNvSpPr/>
      </dsp:nvSpPr>
      <dsp:spPr>
        <a:xfrm>
          <a:off x="0" y="745"/>
          <a:ext cx="1524000" cy="59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tatto con gli occhi</a:t>
          </a:r>
        </a:p>
      </dsp:txBody>
      <dsp:txXfrm>
        <a:off x="0" y="745"/>
        <a:ext cx="1524000" cy="594000"/>
      </dsp:txXfrm>
    </dsp:sp>
    <dsp:sp modelId="{FC80247D-E118-4105-90BF-F29AB52D411B}">
      <dsp:nvSpPr>
        <dsp:cNvPr id="0" name=""/>
        <dsp:cNvSpPr/>
      </dsp:nvSpPr>
      <dsp:spPr>
        <a:xfrm>
          <a:off x="1523999" y="745"/>
          <a:ext cx="304800" cy="5940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929079-7C2E-4F45-A6B9-1B7792F83AEF}">
      <dsp:nvSpPr>
        <dsp:cNvPr id="0" name=""/>
        <dsp:cNvSpPr/>
      </dsp:nvSpPr>
      <dsp:spPr>
        <a:xfrm>
          <a:off x="1950719" y="745"/>
          <a:ext cx="4145280" cy="594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La persona sta entrando in contatto con gli occhi? O lo stanno evitando?</a:t>
          </a:r>
        </a:p>
      </dsp:txBody>
      <dsp:txXfrm>
        <a:off x="1950719" y="745"/>
        <a:ext cx="4145280" cy="594000"/>
      </dsp:txXfrm>
    </dsp:sp>
    <dsp:sp modelId="{33D9AD84-C2DD-43AA-B8C0-6E15771BE78B}">
      <dsp:nvSpPr>
        <dsp:cNvPr id="0" name=""/>
        <dsp:cNvSpPr/>
      </dsp:nvSpPr>
      <dsp:spPr>
        <a:xfrm>
          <a:off x="0" y="616345"/>
          <a:ext cx="1524000" cy="59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Espressioni facciali</a:t>
          </a:r>
        </a:p>
      </dsp:txBody>
      <dsp:txXfrm>
        <a:off x="0" y="616345"/>
        <a:ext cx="1524000" cy="594000"/>
      </dsp:txXfrm>
    </dsp:sp>
    <dsp:sp modelId="{9117B35D-C06B-428F-8A45-50C11E8FFA23}">
      <dsp:nvSpPr>
        <dsp:cNvPr id="0" name=""/>
        <dsp:cNvSpPr/>
      </dsp:nvSpPr>
      <dsp:spPr>
        <a:xfrm>
          <a:off x="1523999" y="616345"/>
          <a:ext cx="304800" cy="5940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E5CFAF-7A5E-4128-8997-A5651A906319}">
      <dsp:nvSpPr>
        <dsp:cNvPr id="0" name=""/>
        <dsp:cNvSpPr/>
      </dsp:nvSpPr>
      <dsp:spPr>
        <a:xfrm>
          <a:off x="1950719" y="616345"/>
          <a:ext cx="4145280" cy="594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l viso della persona esprime calore e interesse? Oppure è vuoto o mostra disagio?</a:t>
          </a:r>
        </a:p>
      </dsp:txBody>
      <dsp:txXfrm>
        <a:off x="1950719" y="616345"/>
        <a:ext cx="4145280" cy="594000"/>
      </dsp:txXfrm>
    </dsp:sp>
    <dsp:sp modelId="{5400C3F5-CC03-4C92-9C64-BD6ED3005EC2}">
      <dsp:nvSpPr>
        <dsp:cNvPr id="0" name=""/>
        <dsp:cNvSpPr/>
      </dsp:nvSpPr>
      <dsp:spPr>
        <a:xfrm>
          <a:off x="0" y="1346453"/>
          <a:ext cx="1524000" cy="3489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ono di voce</a:t>
          </a:r>
        </a:p>
      </dsp:txBody>
      <dsp:txXfrm>
        <a:off x="0" y="1346453"/>
        <a:ext cx="1524000" cy="348975"/>
      </dsp:txXfrm>
    </dsp:sp>
    <dsp:sp modelId="{C3AF3EC1-996A-46C1-B710-476892751235}">
      <dsp:nvSpPr>
        <dsp:cNvPr id="0" name=""/>
        <dsp:cNvSpPr/>
      </dsp:nvSpPr>
      <dsp:spPr>
        <a:xfrm>
          <a:off x="1523999" y="1231945"/>
          <a:ext cx="304800" cy="577989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87B468-0784-4F3F-9515-BBB3492CC8A0}">
      <dsp:nvSpPr>
        <dsp:cNvPr id="0" name=""/>
        <dsp:cNvSpPr/>
      </dsp:nvSpPr>
      <dsp:spPr>
        <a:xfrm>
          <a:off x="1950719" y="1231945"/>
          <a:ext cx="4145280" cy="5779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La voce della persona proietta conforto o interesse? Oppure è teso?</a:t>
          </a:r>
        </a:p>
      </dsp:txBody>
      <dsp:txXfrm>
        <a:off x="1950719" y="1231945"/>
        <a:ext cx="4145280" cy="577989"/>
      </dsp:txXfrm>
    </dsp:sp>
    <dsp:sp modelId="{85BD6EBC-B7BD-4283-9195-03758FD188DF}">
      <dsp:nvSpPr>
        <dsp:cNvPr id="0" name=""/>
        <dsp:cNvSpPr/>
      </dsp:nvSpPr>
      <dsp:spPr>
        <a:xfrm>
          <a:off x="0" y="1831535"/>
          <a:ext cx="1524000" cy="59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ostura e gesti</a:t>
          </a:r>
        </a:p>
      </dsp:txBody>
      <dsp:txXfrm>
        <a:off x="0" y="1831535"/>
        <a:ext cx="1524000" cy="594000"/>
      </dsp:txXfrm>
    </dsp:sp>
    <dsp:sp modelId="{E0FC9C9B-F53E-4A4C-8BA2-1529EE697C2B}">
      <dsp:nvSpPr>
        <dsp:cNvPr id="0" name=""/>
        <dsp:cNvSpPr/>
      </dsp:nvSpPr>
      <dsp:spPr>
        <a:xfrm>
          <a:off x="1523999" y="1831535"/>
          <a:ext cx="304800" cy="5940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CD8488-674C-4C0C-9655-2C89CD3ACFBA}">
      <dsp:nvSpPr>
        <dsp:cNvPr id="0" name=""/>
        <dsp:cNvSpPr/>
      </dsp:nvSpPr>
      <dsp:spPr>
        <a:xfrm>
          <a:off x="1950719" y="1831535"/>
          <a:ext cx="4145280" cy="594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l corpo della persona è rilassato? Oppure è rigido e immobile?</a:t>
          </a:r>
        </a:p>
      </dsp:txBody>
      <dsp:txXfrm>
        <a:off x="1950719" y="1831535"/>
        <a:ext cx="4145280" cy="594000"/>
      </dsp:txXfrm>
    </dsp:sp>
    <dsp:sp modelId="{A3CD7AA6-38F4-4A44-AF0C-AA53CC2A4238}">
      <dsp:nvSpPr>
        <dsp:cNvPr id="0" name=""/>
        <dsp:cNvSpPr/>
      </dsp:nvSpPr>
      <dsp:spPr>
        <a:xfrm>
          <a:off x="0" y="2549229"/>
          <a:ext cx="1524000" cy="59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empistica e luogo</a:t>
          </a:r>
        </a:p>
      </dsp:txBody>
      <dsp:txXfrm>
        <a:off x="0" y="2549229"/>
        <a:ext cx="1524000" cy="594000"/>
      </dsp:txXfrm>
    </dsp:sp>
    <dsp:sp modelId="{A0BBA243-A395-4F9E-9DD5-840A3D69F33B}">
      <dsp:nvSpPr>
        <dsp:cNvPr id="0" name=""/>
        <dsp:cNvSpPr/>
      </dsp:nvSpPr>
      <dsp:spPr>
        <a:xfrm>
          <a:off x="1523999" y="2447135"/>
          <a:ext cx="304800" cy="798187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AAEBA6-B695-4691-8B00-49D1E4CA4B7B}">
      <dsp:nvSpPr>
        <dsp:cNvPr id="0" name=""/>
        <dsp:cNvSpPr/>
      </dsp:nvSpPr>
      <dsp:spPr>
        <a:xfrm>
          <a:off x="1950719" y="2447135"/>
          <a:ext cx="4145280" cy="79818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Esiste un facile flusso di informazioni avanti e indietro? Oppure si tratta in gran parte di una conversazione unidirezionale?</a:t>
          </a:r>
        </a:p>
      </dsp:txBody>
      <dsp:txXfrm>
        <a:off x="1950719" y="2447135"/>
        <a:ext cx="4145280" cy="798187"/>
      </dsp:txXfrm>
    </dsp:sp>
    <dsp:sp modelId="{1165B149-41F8-4D08-BA1A-5857706E9CDE}">
      <dsp:nvSpPr>
        <dsp:cNvPr id="0" name=""/>
        <dsp:cNvSpPr/>
      </dsp:nvSpPr>
      <dsp:spPr>
        <a:xfrm>
          <a:off x="0" y="3583413"/>
          <a:ext cx="1524000" cy="163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involgimento</a:t>
          </a:r>
        </a:p>
      </dsp:txBody>
      <dsp:txXfrm>
        <a:off x="0" y="3583413"/>
        <a:ext cx="1524000" cy="163349"/>
      </dsp:txXfrm>
    </dsp:sp>
    <dsp:sp modelId="{0A6E157B-C627-4B14-8B26-59B96448430A}">
      <dsp:nvSpPr>
        <dsp:cNvPr id="0" name=""/>
        <dsp:cNvSpPr/>
      </dsp:nvSpPr>
      <dsp:spPr>
        <a:xfrm>
          <a:off x="1523999" y="3266923"/>
          <a:ext cx="304800" cy="796331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46999F-8B22-4EFB-AAE0-C9D0AFC0A833}">
      <dsp:nvSpPr>
        <dsp:cNvPr id="0" name=""/>
        <dsp:cNvSpPr/>
      </dsp:nvSpPr>
      <dsp:spPr>
        <a:xfrm>
          <a:off x="1950719" y="3266923"/>
          <a:ext cx="4145280" cy="7963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embra che la persona si stia godendo la conversazione? Oppure stanno cercando un’uscita dall’interazione?</a:t>
          </a:r>
        </a:p>
      </dsp:txBody>
      <dsp:txXfrm>
        <a:off x="1950719" y="3266923"/>
        <a:ext cx="4145280" cy="796331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3D0F38-1697-4DDF-87B5-31AB4FDDCA6E}">
      <dsp:nvSpPr>
        <dsp:cNvPr id="0" name=""/>
        <dsp:cNvSpPr/>
      </dsp:nvSpPr>
      <dsp:spPr>
        <a:xfrm>
          <a:off x="349150" y="201344"/>
          <a:ext cx="1089421" cy="1089421"/>
        </a:xfrm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2CB9A9-E8F4-48A6-863C-3857BF4A1898}">
      <dsp:nvSpPr>
        <dsp:cNvPr id="0" name=""/>
        <dsp:cNvSpPr/>
      </dsp:nvSpPr>
      <dsp:spPr>
        <a:xfrm>
          <a:off x="581322" y="433516"/>
          <a:ext cx="625078" cy="62507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AA18965-2D4D-4724-835A-2A765ACE07BF}">
      <dsp:nvSpPr>
        <dsp:cNvPr id="0" name=""/>
        <dsp:cNvSpPr/>
      </dsp:nvSpPr>
      <dsp:spPr>
        <a:xfrm>
          <a:off x="892" y="1630094"/>
          <a:ext cx="1785937" cy="714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9339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it" sz="1110" b="0" i="0" strike="noStrike" kern="1200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Interrompere, affrontare, supportare, ma solo iF appropriato!</a:t>
          </a:r>
          <a:endParaRPr lang="en-US" kern="1200"/>
        </a:p>
      </dsp:txBody>
      <dsp:txXfrm>
        <a:off x="892" y="1630094"/>
        <a:ext cx="1785937" cy="714375"/>
      </dsp:txXfrm>
    </dsp:sp>
    <dsp:sp modelId="{71CADC7A-C1B0-44C3-93BB-21CE4C51B4F2}">
      <dsp:nvSpPr>
        <dsp:cNvPr id="0" name=""/>
        <dsp:cNvSpPr/>
      </dsp:nvSpPr>
      <dsp:spPr>
        <a:xfrm>
          <a:off x="2447627" y="201344"/>
          <a:ext cx="1089421" cy="1089421"/>
        </a:xfrm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7A4B8A-9FB1-49BB-AD5F-E16F4D6B1202}">
      <dsp:nvSpPr>
        <dsp:cNvPr id="0" name=""/>
        <dsp:cNvSpPr/>
      </dsp:nvSpPr>
      <dsp:spPr>
        <a:xfrm>
          <a:off x="2679799" y="433516"/>
          <a:ext cx="625078" cy="625078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F8B6D1-5618-4F35-9FB1-447D4C8D3EB4}">
      <dsp:nvSpPr>
        <dsp:cNvPr id="0" name=""/>
        <dsp:cNvSpPr/>
      </dsp:nvSpPr>
      <dsp:spPr>
        <a:xfrm>
          <a:off x="2099369" y="1630094"/>
          <a:ext cx="1785937" cy="714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9339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it" sz="1110" b="0" i="0" strike="noStrike" kern="1200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Vogliamo sapere se pensi che il comportamento di qualcuno sia inappropriato o illegale. </a:t>
          </a:r>
          <a:endParaRPr lang="en-US" kern="1200"/>
        </a:p>
      </dsp:txBody>
      <dsp:txXfrm>
        <a:off x="2099369" y="1630094"/>
        <a:ext cx="1785937" cy="714375"/>
      </dsp:txXfrm>
    </dsp:sp>
    <dsp:sp modelId="{1FE7E204-545F-440C-8C97-4A51872D9726}">
      <dsp:nvSpPr>
        <dsp:cNvPr id="0" name=""/>
        <dsp:cNvSpPr/>
      </dsp:nvSpPr>
      <dsp:spPr>
        <a:xfrm>
          <a:off x="349150" y="2790954"/>
          <a:ext cx="1089421" cy="1089421"/>
        </a:xfrm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FF4209-844A-4978-977D-D9B2596F75E9}">
      <dsp:nvSpPr>
        <dsp:cNvPr id="0" name=""/>
        <dsp:cNvSpPr/>
      </dsp:nvSpPr>
      <dsp:spPr>
        <a:xfrm>
          <a:off x="581322" y="3023126"/>
          <a:ext cx="625078" cy="625078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BC5A38-EAF4-4B1E-9660-0ECB3613D90C}">
      <dsp:nvSpPr>
        <dsp:cNvPr id="0" name=""/>
        <dsp:cNvSpPr/>
      </dsp:nvSpPr>
      <dsp:spPr>
        <a:xfrm>
          <a:off x="892" y="4219704"/>
          <a:ext cx="1785937" cy="714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9339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it" sz="1110" b="0" i="0" strike="noStrike" kern="1200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utti i reclami saranno presi seriamente, indagati e gestiti, se appropriato. </a:t>
          </a:r>
          <a:endParaRPr lang="en-US" kern="1200"/>
        </a:p>
      </dsp:txBody>
      <dsp:txXfrm>
        <a:off x="892" y="4219704"/>
        <a:ext cx="1785937" cy="714375"/>
      </dsp:txXfrm>
    </dsp:sp>
    <dsp:sp modelId="{10143779-9C38-42BF-84D1-1850484485B4}">
      <dsp:nvSpPr>
        <dsp:cNvPr id="0" name=""/>
        <dsp:cNvSpPr/>
      </dsp:nvSpPr>
      <dsp:spPr>
        <a:xfrm>
          <a:off x="2447627" y="2790954"/>
          <a:ext cx="1089421" cy="1089421"/>
        </a:xfrm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7D5008-931D-4678-B3D6-809AC5E131FA}">
      <dsp:nvSpPr>
        <dsp:cNvPr id="0" name=""/>
        <dsp:cNvSpPr/>
      </dsp:nvSpPr>
      <dsp:spPr>
        <a:xfrm>
          <a:off x="2679799" y="3023126"/>
          <a:ext cx="625078" cy="625078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B0CDB9-D0AE-470D-ABFC-DED3FE7A9B30}">
      <dsp:nvSpPr>
        <dsp:cNvPr id="0" name=""/>
        <dsp:cNvSpPr/>
      </dsp:nvSpPr>
      <dsp:spPr>
        <a:xfrm>
          <a:off x="2099369" y="4219704"/>
          <a:ext cx="1785937" cy="714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9339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it" sz="1110" b="0" i="0" strike="noStrike" kern="1200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tattare il proprio responsabile, l’ora locale, il team di conformità rpm o la hotline</a:t>
          </a:r>
          <a:endParaRPr lang="en-US" kern="1200"/>
        </a:p>
      </dsp:txBody>
      <dsp:txXfrm>
        <a:off x="2099369" y="4219704"/>
        <a:ext cx="1785937" cy="714375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A512D9-B40D-47F9-A846-C726F51B1EC6}">
      <dsp:nvSpPr>
        <dsp:cNvPr id="0" name=""/>
        <dsp:cNvSpPr/>
      </dsp:nvSpPr>
      <dsp:spPr>
        <a:xfrm>
          <a:off x="0" y="2522"/>
          <a:ext cx="8074836" cy="4240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508474-D63E-4A16-9167-594C791466C4}">
      <dsp:nvSpPr>
        <dsp:cNvPr id="0" name=""/>
        <dsp:cNvSpPr/>
      </dsp:nvSpPr>
      <dsp:spPr>
        <a:xfrm>
          <a:off x="128269" y="97929"/>
          <a:ext cx="233445" cy="23321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AD54F1-4A2A-422E-A86B-590182CAB8AA}">
      <dsp:nvSpPr>
        <dsp:cNvPr id="0" name=""/>
        <dsp:cNvSpPr/>
      </dsp:nvSpPr>
      <dsp:spPr>
        <a:xfrm>
          <a:off x="489984" y="2522"/>
          <a:ext cx="7533534" cy="516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693" tIns="54693" rIns="54693" bIns="5469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Ritiro</a:t>
          </a:r>
          <a:endParaRPr lang="en-US" kern="1200"/>
        </a:p>
      </dsp:txBody>
      <dsp:txXfrm>
        <a:off x="489984" y="2522"/>
        <a:ext cx="7533534" cy="516788"/>
      </dsp:txXfrm>
    </dsp:sp>
    <dsp:sp modelId="{02EE004D-26FC-47D1-8269-69D20901CA23}">
      <dsp:nvSpPr>
        <dsp:cNvPr id="0" name=""/>
        <dsp:cNvSpPr/>
      </dsp:nvSpPr>
      <dsp:spPr>
        <a:xfrm>
          <a:off x="0" y="648508"/>
          <a:ext cx="8074836" cy="4240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412361-0DD8-455E-ABDC-E515BF65EB9D}">
      <dsp:nvSpPr>
        <dsp:cNvPr id="0" name=""/>
        <dsp:cNvSpPr/>
      </dsp:nvSpPr>
      <dsp:spPr>
        <a:xfrm>
          <a:off x="128269" y="743915"/>
          <a:ext cx="233445" cy="23321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7B8EB0-C577-4054-84C1-818EA38BF5B9}">
      <dsp:nvSpPr>
        <dsp:cNvPr id="0" name=""/>
        <dsp:cNvSpPr/>
      </dsp:nvSpPr>
      <dsp:spPr>
        <a:xfrm>
          <a:off x="489984" y="648508"/>
          <a:ext cx="7533534" cy="516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693" tIns="54693" rIns="54693" bIns="5469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Retrocessione</a:t>
          </a:r>
          <a:endParaRPr lang="en-US" kern="1200"/>
        </a:p>
      </dsp:txBody>
      <dsp:txXfrm>
        <a:off x="489984" y="648508"/>
        <a:ext cx="7533534" cy="516788"/>
      </dsp:txXfrm>
    </dsp:sp>
    <dsp:sp modelId="{3951A61D-F069-4616-989D-20A828000FE1}">
      <dsp:nvSpPr>
        <dsp:cNvPr id="0" name=""/>
        <dsp:cNvSpPr/>
      </dsp:nvSpPr>
      <dsp:spPr>
        <a:xfrm>
          <a:off x="0" y="1294493"/>
          <a:ext cx="8074836" cy="4240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C44930-8854-438D-90B1-22C51B82B008}">
      <dsp:nvSpPr>
        <dsp:cNvPr id="0" name=""/>
        <dsp:cNvSpPr/>
      </dsp:nvSpPr>
      <dsp:spPr>
        <a:xfrm>
          <a:off x="128269" y="1389900"/>
          <a:ext cx="233445" cy="23321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5091B8-29C0-4ABE-8DEC-334A61052E0C}">
      <dsp:nvSpPr>
        <dsp:cNvPr id="0" name=""/>
        <dsp:cNvSpPr/>
      </dsp:nvSpPr>
      <dsp:spPr>
        <a:xfrm>
          <a:off x="489984" y="1294493"/>
          <a:ext cx="7533534" cy="516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693" tIns="54693" rIns="54693" bIns="5469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rasferimento</a:t>
          </a:r>
          <a:endParaRPr lang="en-US" kern="1200"/>
        </a:p>
      </dsp:txBody>
      <dsp:txXfrm>
        <a:off x="489984" y="1294493"/>
        <a:ext cx="7533534" cy="516788"/>
      </dsp:txXfrm>
    </dsp:sp>
    <dsp:sp modelId="{2B9FBFC2-2DA2-4537-8E9D-0102188BB8DA}">
      <dsp:nvSpPr>
        <dsp:cNvPr id="0" name=""/>
        <dsp:cNvSpPr/>
      </dsp:nvSpPr>
      <dsp:spPr>
        <a:xfrm>
          <a:off x="0" y="1940479"/>
          <a:ext cx="8074836" cy="4240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8824A6-FCA5-4A1B-9C93-02EBF6CE40C2}">
      <dsp:nvSpPr>
        <dsp:cNvPr id="0" name=""/>
        <dsp:cNvSpPr/>
      </dsp:nvSpPr>
      <dsp:spPr>
        <a:xfrm>
          <a:off x="128269" y="2035886"/>
          <a:ext cx="233445" cy="233217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B89971-F98F-4B5E-A3E6-D8B427874E72}">
      <dsp:nvSpPr>
        <dsp:cNvPr id="0" name=""/>
        <dsp:cNvSpPr/>
      </dsp:nvSpPr>
      <dsp:spPr>
        <a:xfrm>
          <a:off x="489984" y="1940479"/>
          <a:ext cx="7533534" cy="516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693" tIns="54693" rIns="54693" bIns="5469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Incarichi o orari di lavoro meno favorevoli</a:t>
          </a:r>
          <a:endParaRPr lang="en-US" kern="1200"/>
        </a:p>
      </dsp:txBody>
      <dsp:txXfrm>
        <a:off x="489984" y="1940479"/>
        <a:ext cx="7533534" cy="516788"/>
      </dsp:txXfrm>
    </dsp:sp>
    <dsp:sp modelId="{5A0D2530-66A5-456F-BF2D-18FEAD527C88}">
      <dsp:nvSpPr>
        <dsp:cNvPr id="0" name=""/>
        <dsp:cNvSpPr/>
      </dsp:nvSpPr>
      <dsp:spPr>
        <a:xfrm>
          <a:off x="0" y="2586464"/>
          <a:ext cx="8074836" cy="4240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14D602-97C4-4F4E-85C6-8EC0B97D38A5}">
      <dsp:nvSpPr>
        <dsp:cNvPr id="0" name=""/>
        <dsp:cNvSpPr/>
      </dsp:nvSpPr>
      <dsp:spPr>
        <a:xfrm>
          <a:off x="128269" y="2681871"/>
          <a:ext cx="233445" cy="233217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1E7E8D9-EBEA-4B3C-B1F3-7D20DA711A7B}">
      <dsp:nvSpPr>
        <dsp:cNvPr id="0" name=""/>
        <dsp:cNvSpPr/>
      </dsp:nvSpPr>
      <dsp:spPr>
        <a:xfrm>
          <a:off x="489984" y="2586464"/>
          <a:ext cx="7533534" cy="516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693" tIns="54693" rIns="54693" bIns="5469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erdita di file del personale per screditare o screditare una vittima o un testimone di discriminazione</a:t>
          </a:r>
          <a:endParaRPr lang="en-US" kern="1200"/>
        </a:p>
      </dsp:txBody>
      <dsp:txXfrm>
        <a:off x="489984" y="2586464"/>
        <a:ext cx="7533534" cy="516788"/>
      </dsp:txXfrm>
    </dsp:sp>
    <dsp:sp modelId="{82650058-36C7-4EF2-A510-6B2A3BC56CBA}">
      <dsp:nvSpPr>
        <dsp:cNvPr id="0" name=""/>
        <dsp:cNvSpPr/>
      </dsp:nvSpPr>
      <dsp:spPr>
        <a:xfrm>
          <a:off x="0" y="3232450"/>
          <a:ext cx="8074836" cy="4240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2EC3DD-4747-4D08-8080-FEFD01566235}">
      <dsp:nvSpPr>
        <dsp:cNvPr id="0" name=""/>
        <dsp:cNvSpPr/>
      </dsp:nvSpPr>
      <dsp:spPr>
        <a:xfrm>
          <a:off x="128269" y="3327857"/>
          <a:ext cx="233445" cy="233217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5AEC99-75BD-4251-A255-724AD0F0A785}">
      <dsp:nvSpPr>
        <dsp:cNvPr id="0" name=""/>
        <dsp:cNvSpPr/>
      </dsp:nvSpPr>
      <dsp:spPr>
        <a:xfrm>
          <a:off x="489984" y="3232450"/>
          <a:ext cx="7533534" cy="516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693" tIns="54693" rIns="54693" bIns="5469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Essere scoraggiati o ostracizzati dai colleghi</a:t>
          </a:r>
          <a:endParaRPr lang="en-US" kern="1200"/>
        </a:p>
      </dsp:txBody>
      <dsp:txXfrm>
        <a:off x="489984" y="3232450"/>
        <a:ext cx="7533534" cy="516788"/>
      </dsp:txXfrm>
    </dsp:sp>
    <dsp:sp modelId="{BE66F222-4B7E-4DCF-98CD-4A27921714C6}">
      <dsp:nvSpPr>
        <dsp:cNvPr id="0" name=""/>
        <dsp:cNvSpPr/>
      </dsp:nvSpPr>
      <dsp:spPr>
        <a:xfrm>
          <a:off x="0" y="3878435"/>
          <a:ext cx="8074836" cy="4240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DFA904-3FD3-466E-BD6D-472D480E10CF}">
      <dsp:nvSpPr>
        <dsp:cNvPr id="0" name=""/>
        <dsp:cNvSpPr/>
      </dsp:nvSpPr>
      <dsp:spPr>
        <a:xfrm>
          <a:off x="128269" y="3973842"/>
          <a:ext cx="233445" cy="233217"/>
        </a:xfrm>
        <a:prstGeom prst="rect">
          <a:avLst/>
        </a:prstGeom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759015-1B81-45A3-B24B-BC9FC83003A9}">
      <dsp:nvSpPr>
        <dsp:cNvPr id="0" name=""/>
        <dsp:cNvSpPr/>
      </dsp:nvSpPr>
      <dsp:spPr>
        <a:xfrm>
          <a:off x="489984" y="3878435"/>
          <a:ext cx="7533534" cy="516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693" tIns="54693" rIns="54693" bIns="5469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Essere sabotati dai colleghi</a:t>
          </a:r>
          <a:endParaRPr lang="en-US" kern="1200"/>
        </a:p>
      </dsp:txBody>
      <dsp:txXfrm>
        <a:off x="489984" y="3878435"/>
        <a:ext cx="7533534" cy="5167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7136BE-66B6-43CA-ABD3-5EC058011C77}">
      <dsp:nvSpPr>
        <dsp:cNvPr id="0" name=""/>
        <dsp:cNvSpPr/>
      </dsp:nvSpPr>
      <dsp:spPr>
        <a:xfrm>
          <a:off x="2523" y="233939"/>
          <a:ext cx="2460301" cy="9841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21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Molestie sul posto di lavoro</a:t>
          </a:r>
          <a:endParaRPr lang="en-GB" kern="1200"/>
        </a:p>
      </dsp:txBody>
      <dsp:txXfrm>
        <a:off x="2523" y="233939"/>
        <a:ext cx="2460301" cy="984120"/>
      </dsp:txXfrm>
    </dsp:sp>
    <dsp:sp modelId="{5A01AD50-A4BE-433F-882C-7262AEE7DECE}">
      <dsp:nvSpPr>
        <dsp:cNvPr id="0" name=""/>
        <dsp:cNvSpPr/>
      </dsp:nvSpPr>
      <dsp:spPr>
        <a:xfrm>
          <a:off x="2523" y="1218059"/>
          <a:ext cx="2460301" cy="3390074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it" sz="21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dotta indesiderata o offensiva basata su </a:t>
          </a:r>
          <a:r>
            <a:rPr lang="it" sz="2100" b="0" i="1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qualsiasi terreno </a:t>
          </a:r>
          <a:r>
            <a:rPr lang="it" sz="21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rotetto.</a:t>
          </a:r>
        </a:p>
      </dsp:txBody>
      <dsp:txXfrm>
        <a:off x="2523" y="1218059"/>
        <a:ext cx="2460301" cy="3390074"/>
      </dsp:txXfrm>
    </dsp:sp>
    <dsp:sp modelId="{88EAAD68-E779-4ABE-A5DA-0983BBEBC27F}">
      <dsp:nvSpPr>
        <dsp:cNvPr id="0" name=""/>
        <dsp:cNvSpPr/>
      </dsp:nvSpPr>
      <dsp:spPr>
        <a:xfrm>
          <a:off x="2807267" y="233939"/>
          <a:ext cx="2460301" cy="9841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21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Messa a terra protetta</a:t>
          </a:r>
          <a:endParaRPr lang="en-GB" kern="1200"/>
        </a:p>
      </dsp:txBody>
      <dsp:txXfrm>
        <a:off x="2807267" y="233939"/>
        <a:ext cx="2460301" cy="984120"/>
      </dsp:txXfrm>
    </dsp:sp>
    <dsp:sp modelId="{E09FF709-B9A1-467B-BBF8-2127A63B2EF3}">
      <dsp:nvSpPr>
        <dsp:cNvPr id="0" name=""/>
        <dsp:cNvSpPr/>
      </dsp:nvSpPr>
      <dsp:spPr>
        <a:xfrm>
          <a:off x="2807267" y="1218059"/>
          <a:ext cx="2460301" cy="3390074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it" sz="21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ratti personali che non possono influire sulle decisioni relative all’impiego o all’impiego. </a:t>
          </a:r>
        </a:p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21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Le persone possono avere più di un terreno protetto</a:t>
          </a:r>
        </a:p>
      </dsp:txBody>
      <dsp:txXfrm>
        <a:off x="2807267" y="1218059"/>
        <a:ext cx="2460301" cy="3390074"/>
      </dsp:txXfrm>
    </dsp:sp>
    <dsp:sp modelId="{F96EBAB5-2385-44A0-9DAE-378482389753}">
      <dsp:nvSpPr>
        <dsp:cNvPr id="0" name=""/>
        <dsp:cNvSpPr/>
      </dsp:nvSpPr>
      <dsp:spPr>
        <a:xfrm>
          <a:off x="5612011" y="233939"/>
          <a:ext cx="2460301" cy="9841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21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mportamento intersezionale</a:t>
          </a:r>
          <a:endParaRPr lang="en-GB" kern="1200"/>
        </a:p>
      </dsp:txBody>
      <dsp:txXfrm>
        <a:off x="5612011" y="233939"/>
        <a:ext cx="2460301" cy="984120"/>
      </dsp:txXfrm>
    </dsp:sp>
    <dsp:sp modelId="{205221B7-809E-408A-8761-924C5606E944}">
      <dsp:nvSpPr>
        <dsp:cNvPr id="0" name=""/>
        <dsp:cNvSpPr/>
      </dsp:nvSpPr>
      <dsp:spPr>
        <a:xfrm>
          <a:off x="5612011" y="1218059"/>
          <a:ext cx="2460301" cy="3390074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it" sz="21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dotta impropria mirata a più di un terreno protetto.</a:t>
          </a:r>
        </a:p>
        <a:p>
          <a:pPr marL="285750" lvl="1" indent="-285750" algn="l" defTabSz="1600200">
            <a:lnSpc>
              <a:spcPct val="100000"/>
            </a:lnSpc>
            <a:spcBef>
              <a:spcPct val="0"/>
            </a:spcBef>
            <a:spcAft>
              <a:spcPct val="15000"/>
            </a:spcAft>
            <a:buNone/>
          </a:pPr>
          <a:endParaRPr lang="en-GB" sz="3600" kern="1200"/>
        </a:p>
      </dsp:txBody>
      <dsp:txXfrm>
        <a:off x="5612011" y="1218059"/>
        <a:ext cx="2460301" cy="339007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56F062-E831-4C9D-8295-EBD859E85986}">
      <dsp:nvSpPr>
        <dsp:cNvPr id="0" name=""/>
        <dsp:cNvSpPr/>
      </dsp:nvSpPr>
      <dsp:spPr>
        <a:xfrm>
          <a:off x="2390" y="104515"/>
          <a:ext cx="1896268" cy="1137760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Età (40 anni e oltre)</a:t>
          </a:r>
          <a:endParaRPr lang="en-US" kern="1200"/>
        </a:p>
      </dsp:txBody>
      <dsp:txXfrm>
        <a:off x="2390" y="104515"/>
        <a:ext cx="1896268" cy="1137760"/>
      </dsp:txXfrm>
    </dsp:sp>
    <dsp:sp modelId="{314BF5E9-6D32-4139-B1EF-52F90BD3589D}">
      <dsp:nvSpPr>
        <dsp:cNvPr id="0" name=""/>
        <dsp:cNvSpPr/>
      </dsp:nvSpPr>
      <dsp:spPr>
        <a:xfrm>
          <a:off x="2088285" y="104515"/>
          <a:ext cx="1896268" cy="1137760"/>
        </a:xfrm>
        <a:prstGeom prst="rect">
          <a:avLst/>
        </a:prstGeom>
        <a:solidFill>
          <a:schemeClr val="accent1">
            <a:shade val="80000"/>
            <a:hueOff val="24660"/>
            <a:satOff val="470"/>
            <a:lumOff val="207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Razza/colore</a:t>
          </a:r>
          <a:endParaRPr lang="en-US" kern="1200"/>
        </a:p>
      </dsp:txBody>
      <dsp:txXfrm>
        <a:off x="2088285" y="104515"/>
        <a:ext cx="1896268" cy="1137760"/>
      </dsp:txXfrm>
    </dsp:sp>
    <dsp:sp modelId="{65B48DC4-277D-4510-87DB-C69F1B7D6DD3}">
      <dsp:nvSpPr>
        <dsp:cNvPr id="0" name=""/>
        <dsp:cNvSpPr/>
      </dsp:nvSpPr>
      <dsp:spPr>
        <a:xfrm>
          <a:off x="4174180" y="104515"/>
          <a:ext cx="1896268" cy="1137760"/>
        </a:xfrm>
        <a:prstGeom prst="rect">
          <a:avLst/>
        </a:prstGeom>
        <a:solidFill>
          <a:schemeClr val="accent1">
            <a:shade val="80000"/>
            <a:hueOff val="49321"/>
            <a:satOff val="941"/>
            <a:lumOff val="41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Origine nazionale/Cittadinanza</a:t>
          </a:r>
          <a:endParaRPr lang="en-US" kern="1200"/>
        </a:p>
      </dsp:txBody>
      <dsp:txXfrm>
        <a:off x="4174180" y="104515"/>
        <a:ext cx="1896268" cy="1137760"/>
      </dsp:txXfrm>
    </dsp:sp>
    <dsp:sp modelId="{C28451D7-32EE-4871-A93E-B1ABC49EF3AC}">
      <dsp:nvSpPr>
        <dsp:cNvPr id="0" name=""/>
        <dsp:cNvSpPr/>
      </dsp:nvSpPr>
      <dsp:spPr>
        <a:xfrm>
          <a:off x="6260075" y="104515"/>
          <a:ext cx="1896268" cy="1137760"/>
        </a:xfrm>
        <a:prstGeom prst="rect">
          <a:avLst/>
        </a:prstGeom>
        <a:solidFill>
          <a:schemeClr val="accent1">
            <a:shade val="80000"/>
            <a:hueOff val="73981"/>
            <a:satOff val="1411"/>
            <a:lumOff val="623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nformazioni genetiche</a:t>
          </a:r>
          <a:endParaRPr lang="en-US" kern="1200"/>
        </a:p>
      </dsp:txBody>
      <dsp:txXfrm>
        <a:off x="6260075" y="104515"/>
        <a:ext cx="1896268" cy="1137760"/>
      </dsp:txXfrm>
    </dsp:sp>
    <dsp:sp modelId="{B97059E4-569B-439D-ACCE-C703E8EBB9E0}">
      <dsp:nvSpPr>
        <dsp:cNvPr id="0" name=""/>
        <dsp:cNvSpPr/>
      </dsp:nvSpPr>
      <dsp:spPr>
        <a:xfrm>
          <a:off x="2390" y="1431903"/>
          <a:ext cx="1896268" cy="1137760"/>
        </a:xfrm>
        <a:prstGeom prst="rect">
          <a:avLst/>
        </a:prstGeom>
        <a:solidFill>
          <a:schemeClr val="accent1">
            <a:shade val="80000"/>
            <a:hueOff val="98641"/>
            <a:satOff val="1882"/>
            <a:lumOff val="831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Lingua</a:t>
          </a:r>
          <a:endParaRPr lang="en-US" kern="1200"/>
        </a:p>
      </dsp:txBody>
      <dsp:txXfrm>
        <a:off x="2390" y="1431903"/>
        <a:ext cx="1896268" cy="1137760"/>
      </dsp:txXfrm>
    </dsp:sp>
    <dsp:sp modelId="{1C95E413-6173-413A-912F-7DA1BB34D98F}">
      <dsp:nvSpPr>
        <dsp:cNvPr id="0" name=""/>
        <dsp:cNvSpPr/>
      </dsp:nvSpPr>
      <dsp:spPr>
        <a:xfrm>
          <a:off x="2088285" y="1431903"/>
          <a:ext cx="1896268" cy="1137760"/>
        </a:xfrm>
        <a:prstGeom prst="rect">
          <a:avLst/>
        </a:prstGeom>
        <a:solidFill>
          <a:schemeClr val="accent1">
            <a:shade val="80000"/>
            <a:hueOff val="123302"/>
            <a:satOff val="2352"/>
            <a:lumOff val="1038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Religione o convinzione</a:t>
          </a:r>
          <a:endParaRPr lang="en-US" kern="1200"/>
        </a:p>
      </dsp:txBody>
      <dsp:txXfrm>
        <a:off x="2088285" y="1431903"/>
        <a:ext cx="1896268" cy="1137760"/>
      </dsp:txXfrm>
    </dsp:sp>
    <dsp:sp modelId="{A26D54B5-B4E7-40E8-9B74-824A0E4BCFBB}">
      <dsp:nvSpPr>
        <dsp:cNvPr id="0" name=""/>
        <dsp:cNvSpPr/>
      </dsp:nvSpPr>
      <dsp:spPr>
        <a:xfrm>
          <a:off x="4174180" y="1431903"/>
          <a:ext cx="1896268" cy="1137760"/>
        </a:xfrm>
        <a:prstGeom prst="rect">
          <a:avLst/>
        </a:prstGeom>
        <a:solidFill>
          <a:schemeClr val="accent1">
            <a:shade val="80000"/>
            <a:hueOff val="147962"/>
            <a:satOff val="2823"/>
            <a:lumOff val="1246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dee politiche o sindacali</a:t>
          </a:r>
          <a:endParaRPr lang="en-US" kern="1200"/>
        </a:p>
      </dsp:txBody>
      <dsp:txXfrm>
        <a:off x="4174180" y="1431903"/>
        <a:ext cx="1896268" cy="1137760"/>
      </dsp:txXfrm>
    </dsp:sp>
    <dsp:sp modelId="{00672C99-BC32-447E-BE26-36407AA2BDB2}">
      <dsp:nvSpPr>
        <dsp:cNvPr id="0" name=""/>
        <dsp:cNvSpPr/>
      </dsp:nvSpPr>
      <dsp:spPr>
        <a:xfrm>
          <a:off x="6260075" y="1431903"/>
          <a:ext cx="1896268" cy="1137760"/>
        </a:xfrm>
        <a:prstGeom prst="rect">
          <a:avLst/>
        </a:prstGeom>
        <a:solidFill>
          <a:schemeClr val="accent1">
            <a:shade val="80000"/>
            <a:hueOff val="172622"/>
            <a:satOff val="3293"/>
            <a:lumOff val="1454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tato veterano</a:t>
          </a:r>
          <a:endParaRPr lang="en-US" kern="1200"/>
        </a:p>
      </dsp:txBody>
      <dsp:txXfrm>
        <a:off x="6260075" y="1431903"/>
        <a:ext cx="1896268" cy="1137760"/>
      </dsp:txXfrm>
    </dsp:sp>
    <dsp:sp modelId="{4CCD97D0-30AC-4C6D-BD06-F8D29050925E}">
      <dsp:nvSpPr>
        <dsp:cNvPr id="0" name=""/>
        <dsp:cNvSpPr/>
      </dsp:nvSpPr>
      <dsp:spPr>
        <a:xfrm>
          <a:off x="2390" y="2759291"/>
          <a:ext cx="1896268" cy="1137760"/>
        </a:xfrm>
        <a:prstGeom prst="rect">
          <a:avLst/>
        </a:prstGeom>
        <a:solidFill>
          <a:schemeClr val="accent1">
            <a:shade val="80000"/>
            <a:hueOff val="197282"/>
            <a:satOff val="3764"/>
            <a:lumOff val="166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esso (include gravidanza/nascita)</a:t>
          </a:r>
        </a:p>
      </dsp:txBody>
      <dsp:txXfrm>
        <a:off x="2390" y="2759291"/>
        <a:ext cx="1896268" cy="1137760"/>
      </dsp:txXfrm>
    </dsp:sp>
    <dsp:sp modelId="{483AB9CE-7E99-4641-8A28-E74959ABA064}">
      <dsp:nvSpPr>
        <dsp:cNvPr id="0" name=""/>
        <dsp:cNvSpPr/>
      </dsp:nvSpPr>
      <dsp:spPr>
        <a:xfrm>
          <a:off x="2088285" y="2759291"/>
          <a:ext cx="1896268" cy="1137760"/>
        </a:xfrm>
        <a:prstGeom prst="rect">
          <a:avLst/>
        </a:prstGeom>
        <a:solidFill>
          <a:schemeClr val="accent1">
            <a:shade val="80000"/>
            <a:hueOff val="221943"/>
            <a:satOff val="4234"/>
            <a:lumOff val="1870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dentità di genere</a:t>
          </a:r>
          <a:endParaRPr lang="en-US" kern="1200"/>
        </a:p>
      </dsp:txBody>
      <dsp:txXfrm>
        <a:off x="2088285" y="2759291"/>
        <a:ext cx="1896268" cy="1137760"/>
      </dsp:txXfrm>
    </dsp:sp>
    <dsp:sp modelId="{EAD55615-8E89-44DC-83A8-7C3F87D1D88C}">
      <dsp:nvSpPr>
        <dsp:cNvPr id="0" name=""/>
        <dsp:cNvSpPr/>
      </dsp:nvSpPr>
      <dsp:spPr>
        <a:xfrm>
          <a:off x="4174180" y="2759291"/>
          <a:ext cx="1896268" cy="1137760"/>
        </a:xfrm>
        <a:prstGeom prst="rect">
          <a:avLst/>
        </a:prstGeom>
        <a:solidFill>
          <a:schemeClr val="accent1">
            <a:shade val="80000"/>
            <a:hueOff val="246603"/>
            <a:satOff val="4705"/>
            <a:lumOff val="2077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Disabilità fisica o mentale </a:t>
          </a:r>
          <a:endParaRPr lang="en-US" kern="1200"/>
        </a:p>
      </dsp:txBody>
      <dsp:txXfrm>
        <a:off x="4174180" y="2759291"/>
        <a:ext cx="1896268" cy="1137760"/>
      </dsp:txXfrm>
    </dsp:sp>
    <dsp:sp modelId="{498343EC-04AC-4CAD-8B5E-ABC16ACC2F20}">
      <dsp:nvSpPr>
        <dsp:cNvPr id="0" name=""/>
        <dsp:cNvSpPr/>
      </dsp:nvSpPr>
      <dsp:spPr>
        <a:xfrm>
          <a:off x="6260075" y="2759291"/>
          <a:ext cx="1896268" cy="1137760"/>
        </a:xfrm>
        <a:prstGeom prst="rect">
          <a:avLst/>
        </a:prstGeom>
        <a:solidFill>
          <a:schemeClr val="accent1">
            <a:shade val="80000"/>
            <a:hueOff val="271263"/>
            <a:satOff val="5175"/>
            <a:lumOff val="228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Orientamento sessuale</a:t>
          </a:r>
          <a:endParaRPr lang="en-US" kern="1200"/>
        </a:p>
      </dsp:txBody>
      <dsp:txXfrm>
        <a:off x="6260075" y="2759291"/>
        <a:ext cx="1896268" cy="11377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682F32-5C4B-42CE-AEF9-AB56A3FF7419}">
      <dsp:nvSpPr>
        <dsp:cNvPr id="0" name=""/>
        <dsp:cNvSpPr/>
      </dsp:nvSpPr>
      <dsp:spPr>
        <a:xfrm>
          <a:off x="2980" y="788"/>
          <a:ext cx="8068874" cy="23122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2800" b="1" i="0" u="sng" strike="noStrike" kern="1200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Le molestie sessuali </a:t>
          </a:r>
          <a:r>
            <a:rPr lang="it" sz="28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ono comportamenti verbali, non verbali o fisici indesiderati di natura sessuale che violano la dignità di una persona.</a:t>
          </a: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28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Esistono due diversi tipi di molestie sessuali:</a:t>
          </a:r>
          <a:endParaRPr lang="en-US" kern="1200"/>
        </a:p>
      </dsp:txBody>
      <dsp:txXfrm>
        <a:off x="70704" y="68512"/>
        <a:ext cx="7933426" cy="2176831"/>
      </dsp:txXfrm>
    </dsp:sp>
    <dsp:sp modelId="{2BBD0B2E-4BE4-48AC-A125-1761F93E54D0}">
      <dsp:nvSpPr>
        <dsp:cNvPr id="0" name=""/>
        <dsp:cNvSpPr/>
      </dsp:nvSpPr>
      <dsp:spPr>
        <a:xfrm>
          <a:off x="2980" y="2529006"/>
          <a:ext cx="3871820" cy="23122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400" b="1" i="0" u="sng" strike="noStrike" kern="1200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Quid Pro Quo</a:t>
          </a:r>
          <a:endParaRPr lang="en-GB" kern="1200">
            <a:solidFill>
              <a:srgbClr val="FF0000"/>
            </a:solidFill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Quid Pro Quo è latino e significa “questo per questo” e significa basare le decisioni lavorative sul fatto che qualcuno accetti o rifiuti una condotta sessuale indesiderata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Può comportare una condotta sessuale, intima o romantica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Coinvolge sempre i manager o altri in posizioni di autorità. </a:t>
          </a:r>
          <a:endParaRPr lang="en-US" kern="1200"/>
        </a:p>
      </dsp:txBody>
      <dsp:txXfrm>
        <a:off x="70704" y="2596730"/>
        <a:ext cx="3736372" cy="2176831"/>
      </dsp:txXfrm>
    </dsp:sp>
    <dsp:sp modelId="{88F1ABA4-3573-4291-80C5-CCCD060891F4}">
      <dsp:nvSpPr>
        <dsp:cNvPr id="0" name=""/>
        <dsp:cNvSpPr/>
      </dsp:nvSpPr>
      <dsp:spPr>
        <a:xfrm>
          <a:off x="4200034" y="2529006"/>
          <a:ext cx="3871820" cy="23122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400" b="1" i="0" u="sng" strike="noStrike" kern="1200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Ambiente di lavoro ostile</a:t>
          </a:r>
          <a:r>
            <a:rPr lang="it" sz="1400" b="0" i="0" strike="noStrike" kern="1200" cap="none" spc="0" baseline="0">
              <a:solidFill>
                <a:srgbClr val="FF0000"/>
              </a:solidFill>
              <a:effectLst/>
              <a:latin typeface="Calibri"/>
              <a:ea typeface="Calibri"/>
              <a:cs typeface="Calibri"/>
            </a:rPr>
            <a:t>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dotta indesiderata che crea un ambiente di lavoro intimidatorio, ostile, degradante, umiliante o offensivo.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uò essere un comportamento verbale, visivo, fisico, digitale o scritto.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hiunque, non solo qualcuno in una posizione di autorità, può adottare questo tipo di condotta illecita. </a:t>
          </a:r>
          <a:endParaRPr lang="en-US" kern="1200"/>
        </a:p>
      </dsp:txBody>
      <dsp:txXfrm>
        <a:off x="4267758" y="2596730"/>
        <a:ext cx="3736372" cy="217683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48B920-B1E0-4886-9BA5-B1554C666682}">
      <dsp:nvSpPr>
        <dsp:cNvPr id="0" name=""/>
        <dsp:cNvSpPr/>
      </dsp:nvSpPr>
      <dsp:spPr>
        <a:xfrm>
          <a:off x="0" y="4946"/>
          <a:ext cx="3886200" cy="166909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32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Un ambiente di lavoro ostile può comprendere:</a:t>
          </a:r>
          <a:endParaRPr lang="en-US" kern="1200"/>
        </a:p>
      </dsp:txBody>
      <dsp:txXfrm>
        <a:off x="81478" y="86424"/>
        <a:ext cx="3723244" cy="1506135"/>
      </dsp:txXfrm>
    </dsp:sp>
    <dsp:sp modelId="{7652FA92-FF02-4F9E-A627-EE14DD86AB00}">
      <dsp:nvSpPr>
        <dsp:cNvPr id="0" name=""/>
        <dsp:cNvSpPr/>
      </dsp:nvSpPr>
      <dsp:spPr>
        <a:xfrm>
          <a:off x="0" y="1674038"/>
          <a:ext cx="3886200" cy="17873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387" tIns="31750" rIns="177800" bIns="31750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" sz="25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Un singolo incidente grave</a:t>
          </a:r>
          <a:endParaRPr lang="en-US" kern="120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it" sz="2500" b="0" i="0" strike="noStrike" kern="1200" cap="none" spc="0" baseline="0" dirty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Un modello di incidenti più piccoli che si accumulano nel tempo</a:t>
          </a:r>
          <a:endParaRPr lang="en-US" kern="1200" dirty="0"/>
        </a:p>
      </dsp:txBody>
      <dsp:txXfrm>
        <a:off x="0" y="1674038"/>
        <a:ext cx="3886200" cy="1787347"/>
      </dsp:txXfrm>
    </dsp:sp>
    <dsp:sp modelId="{33BCEC26-C14D-4C1B-A0A8-57892C4646B9}">
      <dsp:nvSpPr>
        <dsp:cNvPr id="0" name=""/>
        <dsp:cNvSpPr/>
      </dsp:nvSpPr>
      <dsp:spPr>
        <a:xfrm>
          <a:off x="0" y="3461385"/>
          <a:ext cx="3886200" cy="166909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32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Un modello di condotta può essere invisibile agli altri </a:t>
          </a:r>
          <a:endParaRPr lang="en-US" kern="1200"/>
        </a:p>
      </dsp:txBody>
      <dsp:txXfrm>
        <a:off x="81478" y="3542863"/>
        <a:ext cx="3723244" cy="150613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DE4789-F2C4-48F7-AD1A-1BC4182425B9}">
      <dsp:nvSpPr>
        <dsp:cNvPr id="0" name=""/>
        <dsp:cNvSpPr/>
      </dsp:nvSpPr>
      <dsp:spPr>
        <a:xfrm>
          <a:off x="745187" y="1247"/>
          <a:ext cx="6584460" cy="200826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32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Gli stereotipi di genere sono idee preconcette su come qualcuno dovrebbe essere, agire o comportarsi in base al proprio sesso. </a:t>
          </a:r>
          <a:endParaRPr lang="en-US" sz="3200" kern="1200"/>
        </a:p>
      </dsp:txBody>
      <dsp:txXfrm>
        <a:off x="745187" y="1247"/>
        <a:ext cx="6584460" cy="2008260"/>
      </dsp:txXfrm>
    </dsp:sp>
    <dsp:sp modelId="{C106FE37-78FC-4B91-AB63-2959EC40C132}">
      <dsp:nvSpPr>
        <dsp:cNvPr id="0" name=""/>
        <dsp:cNvSpPr/>
      </dsp:nvSpPr>
      <dsp:spPr>
        <a:xfrm>
          <a:off x="745187" y="2832565"/>
          <a:ext cx="6584460" cy="200826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32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Ad esempio: Chiedi </a:t>
          </a:r>
          <a:r>
            <a:rPr lang="it" sz="3200" b="0" i="0" u="sng" strike="noStrike" kern="1200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solo</a:t>
          </a:r>
          <a:r>
            <a:rPr lang="it" sz="32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alle dipendenti di prendere caffè e snack per la sala conferenze per il prossimo incontro.</a:t>
          </a:r>
          <a:endParaRPr lang="en-US" sz="3200" kern="1200"/>
        </a:p>
      </dsp:txBody>
      <dsp:txXfrm>
        <a:off x="745187" y="2832565"/>
        <a:ext cx="6584460" cy="200826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61FA31-D264-43EA-875B-A2B7B8E7012B}">
      <dsp:nvSpPr>
        <dsp:cNvPr id="0" name=""/>
        <dsp:cNvSpPr/>
      </dsp:nvSpPr>
      <dsp:spPr>
        <a:xfrm>
          <a:off x="0" y="622433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3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upervisori</a:t>
          </a:r>
          <a:endParaRPr lang="en-US" kern="1200"/>
        </a:p>
      </dsp:txBody>
      <dsp:txXfrm>
        <a:off x="0" y="622433"/>
        <a:ext cx="2458164" cy="1474898"/>
      </dsp:txXfrm>
    </dsp:sp>
    <dsp:sp modelId="{4573CE03-A660-44F7-B0C8-0BF6532B8A05}">
      <dsp:nvSpPr>
        <dsp:cNvPr id="0" name=""/>
        <dsp:cNvSpPr/>
      </dsp:nvSpPr>
      <dsp:spPr>
        <a:xfrm>
          <a:off x="2703980" y="622433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32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Responsabili</a:t>
          </a:r>
          <a:endParaRPr lang="en-US" sz="3200" kern="1200"/>
        </a:p>
      </dsp:txBody>
      <dsp:txXfrm>
        <a:off x="2703980" y="622433"/>
        <a:ext cx="2458164" cy="1474898"/>
      </dsp:txXfrm>
    </dsp:sp>
    <dsp:sp modelId="{7D292785-63DD-40E5-BF38-3BDE0B2D1FB7}">
      <dsp:nvSpPr>
        <dsp:cNvPr id="0" name=""/>
        <dsp:cNvSpPr/>
      </dsp:nvSpPr>
      <dsp:spPr>
        <a:xfrm>
          <a:off x="5407961" y="622433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3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lleghi</a:t>
          </a:r>
          <a:endParaRPr lang="en-US" kern="1200"/>
        </a:p>
      </dsp:txBody>
      <dsp:txXfrm>
        <a:off x="5407961" y="622433"/>
        <a:ext cx="2458164" cy="1474898"/>
      </dsp:txXfrm>
    </dsp:sp>
    <dsp:sp modelId="{8E5F5894-71D7-4AD0-AB3F-825397E67428}">
      <dsp:nvSpPr>
        <dsp:cNvPr id="0" name=""/>
        <dsp:cNvSpPr/>
      </dsp:nvSpPr>
      <dsp:spPr>
        <a:xfrm>
          <a:off x="0" y="2343148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3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Fornitori</a:t>
          </a:r>
          <a:endParaRPr lang="en-US" kern="1200"/>
        </a:p>
      </dsp:txBody>
      <dsp:txXfrm>
        <a:off x="0" y="2343148"/>
        <a:ext cx="2458164" cy="1474898"/>
      </dsp:txXfrm>
    </dsp:sp>
    <dsp:sp modelId="{41438514-9CE3-4267-8433-2A509C733917}">
      <dsp:nvSpPr>
        <dsp:cNvPr id="0" name=""/>
        <dsp:cNvSpPr/>
      </dsp:nvSpPr>
      <dsp:spPr>
        <a:xfrm>
          <a:off x="2703980" y="2343148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3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lienti</a:t>
          </a:r>
          <a:endParaRPr lang="en-US" kern="1200"/>
        </a:p>
      </dsp:txBody>
      <dsp:txXfrm>
        <a:off x="2703980" y="2343148"/>
        <a:ext cx="2458164" cy="1474898"/>
      </dsp:txXfrm>
    </dsp:sp>
    <dsp:sp modelId="{CD7FF0B3-454C-4F5A-9542-9E88E96578B7}">
      <dsp:nvSpPr>
        <dsp:cNvPr id="0" name=""/>
        <dsp:cNvSpPr/>
      </dsp:nvSpPr>
      <dsp:spPr>
        <a:xfrm>
          <a:off x="5407961" y="2343148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3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Appaltatori</a:t>
          </a:r>
          <a:endParaRPr lang="en-US" kern="1200"/>
        </a:p>
      </dsp:txBody>
      <dsp:txXfrm>
        <a:off x="5407961" y="2343148"/>
        <a:ext cx="2458164" cy="147489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286E4F-7206-4C05-AD55-DC212A1A5DC4}">
      <dsp:nvSpPr>
        <dsp:cNvPr id="0" name=""/>
        <dsp:cNvSpPr/>
      </dsp:nvSpPr>
      <dsp:spPr>
        <a:xfrm>
          <a:off x="864" y="338878"/>
          <a:ext cx="3372691" cy="146194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dotta visiva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erseverare, fare gesti sessuali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Visualizzazione di oggetti, immagini, cartoni animati o poster suggestivi in formato cartaceo o digitale</a:t>
          </a:r>
        </a:p>
      </dsp:txBody>
      <dsp:txXfrm>
        <a:off x="864" y="338878"/>
        <a:ext cx="3372691" cy="1461940"/>
      </dsp:txXfrm>
    </dsp:sp>
    <dsp:sp modelId="{988B99C9-8C3B-43DD-B195-DE7699CD3887}">
      <dsp:nvSpPr>
        <dsp:cNvPr id="0" name=""/>
        <dsp:cNvSpPr/>
      </dsp:nvSpPr>
      <dsp:spPr>
        <a:xfrm>
          <a:off x="3710825" y="338878"/>
          <a:ext cx="3372691" cy="146194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dotta fisica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Toccare, abbracciare o massaggiar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Attacco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mpedisce o blocca il movimento </a:t>
          </a:r>
        </a:p>
      </dsp:txBody>
      <dsp:txXfrm>
        <a:off x="3710825" y="338878"/>
        <a:ext cx="3372691" cy="1461940"/>
      </dsp:txXfrm>
    </dsp:sp>
    <dsp:sp modelId="{66092D74-200C-439C-BC45-FB0319721481}">
      <dsp:nvSpPr>
        <dsp:cNvPr id="0" name=""/>
        <dsp:cNvSpPr/>
      </dsp:nvSpPr>
      <dsp:spPr>
        <a:xfrm>
          <a:off x="488269" y="2138087"/>
          <a:ext cx="6107842" cy="215185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dotta verbale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Fare o utilizzare commenti, insulti o battute di persona o attraverso testi, e-mail o messaggi dispregiativi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Avance o proposte sessuali verbali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Abuso verbale di natura sessual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mmenti verbali grafici sul corpo di una persona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it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arole sessualmente degradanti utilizzate per descrivere lettere, note o inviti individuali, allusivi od osceni</a:t>
          </a:r>
        </a:p>
      </dsp:txBody>
      <dsp:txXfrm>
        <a:off x="488269" y="2138087"/>
        <a:ext cx="6107842" cy="215185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9A27DE-1A9D-4CFC-BE2E-D6325D4C73B2}">
      <dsp:nvSpPr>
        <dsp:cNvPr id="0" name=""/>
        <dsp:cNvSpPr/>
      </dsp:nvSpPr>
      <dsp:spPr>
        <a:xfrm>
          <a:off x="825827" y="248221"/>
          <a:ext cx="658916" cy="65891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FCE879-EDA8-4A56-B9E8-3934B4682EB9}">
      <dsp:nvSpPr>
        <dsp:cNvPr id="0" name=""/>
        <dsp:cNvSpPr/>
      </dsp:nvSpPr>
      <dsp:spPr>
        <a:xfrm>
          <a:off x="423156" y="1135665"/>
          <a:ext cx="1464257" cy="585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Interazioni virtuali</a:t>
          </a:r>
          <a:endParaRPr lang="en-US" kern="1200"/>
        </a:p>
      </dsp:txBody>
      <dsp:txXfrm>
        <a:off x="423156" y="1135665"/>
        <a:ext cx="1464257" cy="585703"/>
      </dsp:txXfrm>
    </dsp:sp>
    <dsp:sp modelId="{B02E9D7E-F6E6-43AD-AAC9-B8DAE5007E4C}">
      <dsp:nvSpPr>
        <dsp:cNvPr id="0" name=""/>
        <dsp:cNvSpPr/>
      </dsp:nvSpPr>
      <dsp:spPr>
        <a:xfrm>
          <a:off x="2546329" y="248221"/>
          <a:ext cx="658916" cy="65891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45D0FB-691D-4DD1-A770-EFD951B22D94}">
      <dsp:nvSpPr>
        <dsp:cNvPr id="0" name=""/>
        <dsp:cNvSpPr/>
      </dsp:nvSpPr>
      <dsp:spPr>
        <a:xfrm>
          <a:off x="2143659" y="1135665"/>
          <a:ext cx="1464257" cy="585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Festività</a:t>
          </a:r>
          <a:endParaRPr lang="en-US" kern="1200"/>
        </a:p>
      </dsp:txBody>
      <dsp:txXfrm>
        <a:off x="2143659" y="1135665"/>
        <a:ext cx="1464257" cy="585703"/>
      </dsp:txXfrm>
    </dsp:sp>
    <dsp:sp modelId="{4E3EF8FC-D81C-4C6A-806C-EA4743F4BA77}">
      <dsp:nvSpPr>
        <dsp:cNvPr id="0" name=""/>
        <dsp:cNvSpPr/>
      </dsp:nvSpPr>
      <dsp:spPr>
        <a:xfrm>
          <a:off x="4266832" y="248221"/>
          <a:ext cx="658916" cy="65891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5E8662-2533-42D8-B4B8-521917D7DEAC}">
      <dsp:nvSpPr>
        <dsp:cNvPr id="0" name=""/>
        <dsp:cNvSpPr/>
      </dsp:nvSpPr>
      <dsp:spPr>
        <a:xfrm>
          <a:off x="3864162" y="1135665"/>
          <a:ext cx="1464257" cy="585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asti</a:t>
          </a:r>
          <a:endParaRPr lang="en-US" kern="1200"/>
        </a:p>
      </dsp:txBody>
      <dsp:txXfrm>
        <a:off x="3864162" y="1135665"/>
        <a:ext cx="1464257" cy="585703"/>
      </dsp:txXfrm>
    </dsp:sp>
    <dsp:sp modelId="{57CC4C62-BD4B-45BD-83D8-0A29B71FFADD}">
      <dsp:nvSpPr>
        <dsp:cNvPr id="0" name=""/>
        <dsp:cNvSpPr/>
      </dsp:nvSpPr>
      <dsp:spPr>
        <a:xfrm>
          <a:off x="886967" y="2162332"/>
          <a:ext cx="658916" cy="65891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47C313-91DA-4206-839D-B34E91EFC201}">
      <dsp:nvSpPr>
        <dsp:cNvPr id="0" name=""/>
        <dsp:cNvSpPr/>
      </dsp:nvSpPr>
      <dsp:spPr>
        <a:xfrm>
          <a:off x="475488" y="2939635"/>
          <a:ext cx="1464257" cy="585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ferenze e fiere</a:t>
          </a:r>
          <a:endParaRPr lang="en-US" kern="1200"/>
        </a:p>
      </dsp:txBody>
      <dsp:txXfrm>
        <a:off x="475488" y="2939635"/>
        <a:ext cx="1464257" cy="585703"/>
      </dsp:txXfrm>
    </dsp:sp>
    <dsp:sp modelId="{E86A0C04-E9B4-4015-A6A8-3FB1046B29CE}">
      <dsp:nvSpPr>
        <dsp:cNvPr id="0" name=""/>
        <dsp:cNvSpPr/>
      </dsp:nvSpPr>
      <dsp:spPr>
        <a:xfrm>
          <a:off x="2546329" y="2087433"/>
          <a:ext cx="658916" cy="658916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18699A-9F44-43C4-BACD-AFA07472911A}">
      <dsp:nvSpPr>
        <dsp:cNvPr id="0" name=""/>
        <dsp:cNvSpPr/>
      </dsp:nvSpPr>
      <dsp:spPr>
        <a:xfrm>
          <a:off x="2143659" y="2974877"/>
          <a:ext cx="1464257" cy="585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Viaggi di lavoro</a:t>
          </a:r>
          <a:endParaRPr lang="en-US" kern="1200"/>
        </a:p>
      </dsp:txBody>
      <dsp:txXfrm>
        <a:off x="2143659" y="2974877"/>
        <a:ext cx="1464257" cy="585703"/>
      </dsp:txXfrm>
    </dsp:sp>
    <dsp:sp modelId="{5421B5D6-8F0B-4CBE-B7B3-DBCDD202F370}">
      <dsp:nvSpPr>
        <dsp:cNvPr id="0" name=""/>
        <dsp:cNvSpPr/>
      </dsp:nvSpPr>
      <dsp:spPr>
        <a:xfrm>
          <a:off x="4266832" y="2087433"/>
          <a:ext cx="658916" cy="658916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CD23AD-0F84-4328-BCA7-961CDC0F9CC6}">
      <dsp:nvSpPr>
        <dsp:cNvPr id="0" name=""/>
        <dsp:cNvSpPr/>
      </dsp:nvSpPr>
      <dsp:spPr>
        <a:xfrm>
          <a:off x="3864162" y="2974877"/>
          <a:ext cx="1464257" cy="585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Lavoratori da remoto e da casa</a:t>
          </a:r>
          <a:endParaRPr lang="en-US" kern="1200"/>
        </a:p>
      </dsp:txBody>
      <dsp:txXfrm>
        <a:off x="3864162" y="2974877"/>
        <a:ext cx="1464257" cy="5857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18/5/layout/IconLeafLabelList">
  <dgm:title val="Icon Leaf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round2DiagRect" r:blip="">
            <dgm:adjLst/>
            <dgm:extLst>
              <a:ext uri="{B698B0E9-8C71-41B9-8309-B3DCBF30829C}">
                <dgm1612:spPr xmlns:dgm1612="http://schemas.microsoft.com/office/drawing/2016/12/diagram">
                  <a:prstGeom prst="round2DiagRect">
                    <a:avLst>
                      <a:gd name="adj1" fmla="val 29727"/>
                      <a:gd name="adj2" fmla="val 0"/>
                    </a:avLst>
                  </a:prstGeom>
                </dgm1612:spPr>
              </a:ext>
            </dgm:ext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5288" y="169863"/>
            <a:ext cx="6159500" cy="462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00792" y="4940567"/>
            <a:ext cx="6148491" cy="3932540"/>
          </a:xfrm>
          <a:prstGeom prst="rect">
            <a:avLst/>
          </a:prstGeom>
        </p:spPr>
        <p:txBody>
          <a:bodyPr vert="horz" lIns="91001" tIns="45502" rIns="91001" bIns="4550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" y="8721144"/>
            <a:ext cx="3012329" cy="463695"/>
          </a:xfrm>
          <a:prstGeom prst="rect">
            <a:avLst/>
          </a:prstGeom>
        </p:spPr>
        <p:txBody>
          <a:bodyPr vert="horz" lIns="91001" tIns="45502" rIns="91001" bIns="45502" rtlCol="0" anchor="b"/>
          <a:lstStyle>
            <a:lvl1pPr algn="l">
              <a:defRPr sz="1000">
                <a:solidFill>
                  <a:srgbClr val="203864"/>
                </a:solidFill>
              </a:defRPr>
            </a:lvl1pPr>
          </a:lstStyle>
          <a:p>
            <a:r>
              <a:rPr lang="en-US"/>
              <a:t>RPM International Inc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7742" y="8721144"/>
            <a:ext cx="3012329" cy="463695"/>
          </a:xfrm>
          <a:prstGeom prst="rect">
            <a:avLst/>
          </a:prstGeom>
        </p:spPr>
        <p:txBody>
          <a:bodyPr vert="horz" lIns="91001" tIns="45502" rIns="91001" bIns="45502" rtlCol="0" anchor="b"/>
          <a:lstStyle>
            <a:lvl1pPr algn="r">
              <a:defRPr sz="1000">
                <a:solidFill>
                  <a:srgbClr val="203864"/>
                </a:solidFill>
              </a:defRPr>
            </a:lvl1pPr>
          </a:lstStyle>
          <a:p>
            <a:fld id="{AA05FC04-006C-4370-AA2A-61F90C8564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377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05FC04-006C-4370-AA2A-61F90C8564E7}" type="slidenum">
              <a:rPr lang="en-US" smtClean="0"/>
              <a:t>1</a:t>
            </a:fld>
            <a:endParaRPr lang="en-US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C72E06DF-B426-4181-8E0A-454FF77366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93700" y="169863"/>
            <a:ext cx="6162675" cy="462280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C2D10176-95FB-4A01-AB36-F535C89BE4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12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763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05FC04-006C-4370-AA2A-61F90C8564E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385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4AFCF93-F657-4B86-AF22-65B0BC4CCA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403509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4" imgH="424" progId="TCLayout.ActiveDocument.1">
                  <p:embed/>
                </p:oleObj>
              </mc:Choice>
              <mc:Fallback>
                <p:oleObj name="think-cell Slide" r:id="rId4" imgW="424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4AFCF93-F657-4B86-AF22-65B0BC4CCA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7C78A8F-C7D7-4FCD-ABDF-9F33A29FBA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5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32464026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6D9C2DC-7DD7-4CCC-9988-35B863DFA9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0291004"/>
              </p:ext>
            </p:extLst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6D9C2DC-7DD7-4CCC-9988-35B863DFA9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822960" y="182880"/>
            <a:ext cx="7358907" cy="787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432562" y="1508760"/>
            <a:ext cx="8074836" cy="48420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5">
            <a:extLst>
              <a:ext uri="{FF2B5EF4-FFF2-40B4-BE49-F238E27FC236}">
                <a16:creationId xmlns:a16="http://schemas.microsoft.com/office/drawing/2014/main" id="{04D026DA-6CE9-4966-BA89-38F47DC2EE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28145" y="6558353"/>
            <a:ext cx="286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[EVENT NAME]  [DATE]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2C2B23F-24A9-4052-948D-555AAA1D69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5FC4A1-A2DE-4EB5-9A46-57D39B4235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003217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3C20818-8DDA-3F49-982E-FE672F9E4B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0663" t="1445" r="10663"/>
          <a:stretch>
            <a:fillRect/>
          </a:stretch>
        </p:blipFill>
        <p:spPr>
          <a:xfrm>
            <a:off x="0" y="0"/>
            <a:ext cx="9144000" cy="51508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DEFDE6D-6AB1-134F-BF2D-97D50BB8F9C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89924" y="1560352"/>
            <a:ext cx="1604880" cy="280611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35A33B2-1602-A14D-97FA-7C12265B23CF}"/>
              </a:ext>
            </a:extLst>
          </p:cNvPr>
          <p:cNvSpPr/>
          <p:nvPr userDrawn="1"/>
        </p:nvSpPr>
        <p:spPr>
          <a:xfrm>
            <a:off x="0" y="5112218"/>
            <a:ext cx="9144000" cy="1745782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CFBB4451-9D41-6B4E-8FB0-339D4F654ADC}"/>
              </a:ext>
            </a:extLst>
          </p:cNvPr>
          <p:cNvSpPr/>
          <p:nvPr userDrawn="1"/>
        </p:nvSpPr>
        <p:spPr>
          <a:xfrm flipH="1">
            <a:off x="0" y="4135179"/>
            <a:ext cx="9144000" cy="998377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2E489EC-E4C0-BC4F-B047-C4F8266835C7}"/>
              </a:ext>
            </a:extLst>
          </p:cNvPr>
          <p:cNvCxnSpPr/>
          <p:nvPr userDrawn="1"/>
        </p:nvCxnSpPr>
        <p:spPr>
          <a:xfrm flipV="1">
            <a:off x="0" y="4268039"/>
            <a:ext cx="9144000" cy="990786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3233C4D-12E6-CD44-B89E-3C9A22EA8343}"/>
              </a:ext>
            </a:extLst>
          </p:cNvPr>
          <p:cNvCxnSpPr/>
          <p:nvPr userDrawn="1"/>
        </p:nvCxnSpPr>
        <p:spPr>
          <a:xfrm flipV="1">
            <a:off x="0" y="4110728"/>
            <a:ext cx="9144000" cy="995008"/>
          </a:xfrm>
          <a:prstGeom prst="line">
            <a:avLst/>
          </a:prstGeom>
          <a:ln w="698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D9ED571-82D2-D246-A47D-A80C822ADDD7}"/>
              </a:ext>
            </a:extLst>
          </p:cNvPr>
          <p:cNvSpPr txBox="1"/>
          <p:nvPr userDrawn="1"/>
        </p:nvSpPr>
        <p:spPr>
          <a:xfrm>
            <a:off x="394768" y="421272"/>
            <a:ext cx="3699545" cy="51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" sz="2800" b="1" i="0" strike="noStrike" cap="none" spc="0" baseline="0">
                <a:solidFill>
                  <a:srgbClr val="FFFFFF"/>
                </a:solidFill>
                <a:effectLst>
                  <a:outerShdw blurRad="50800" dist="38100" dir="2700000" algn="tl" rotWithShape="0">
                    <a:srgbClr val="000000">
                      <a:alpha val="40000"/>
                    </a:srgbClr>
                  </a:outerShdw>
                </a:effectLst>
                <a:latin typeface="Calibri"/>
                <a:ea typeface="Calibri"/>
                <a:cs typeface="Calibri"/>
              </a:rPr>
              <a:t>IL VALORE DI 168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210BB95-7967-7648-835C-D3C45FEF1074}"/>
              </a:ext>
            </a:extLst>
          </p:cNvPr>
          <p:cNvCxnSpPr/>
          <p:nvPr userDrawn="1"/>
        </p:nvCxnSpPr>
        <p:spPr>
          <a:xfrm>
            <a:off x="397564" y="921937"/>
            <a:ext cx="282915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C0A2122B-42C6-2540-B8D4-3C80E6EA587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95029" y="366842"/>
            <a:ext cx="1194670" cy="57406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C04F3EC-D42F-3844-AEEA-6508D089560E}"/>
              </a:ext>
            </a:extLst>
          </p:cNvPr>
          <p:cNvCxnSpPr>
            <a:stCxn id="7" idx="0"/>
          </p:cNvCxnSpPr>
          <p:nvPr userDrawn="1"/>
        </p:nvCxnSpPr>
        <p:spPr>
          <a:xfrm flipH="1">
            <a:off x="9144000" y="4135179"/>
            <a:ext cx="0" cy="3369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5431631"/>
            <a:ext cx="7886700" cy="1019969"/>
          </a:xfrm>
        </p:spPr>
        <p:txBody>
          <a:bodyPr anchor="t"/>
          <a:lstStyle>
            <a:lvl1pPr algn="ctr"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3888" y="5906287"/>
            <a:ext cx="7886700" cy="824714"/>
          </a:xfrm>
        </p:spPr>
        <p:txBody>
          <a:bodyPr anchor="t">
            <a:normAutofit/>
          </a:bodyPr>
          <a:lstStyle>
            <a:lvl1pPr marL="0" indent="0" algn="ctr">
              <a:buNone/>
              <a:defRPr sz="19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3428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4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4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37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9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Date Placeholder 5">
            <a:extLst>
              <a:ext uri="{FF2B5EF4-FFF2-40B4-BE49-F238E27FC236}">
                <a16:creationId xmlns:a16="http://schemas.microsoft.com/office/drawing/2014/main" id="{67379C8A-A8C7-5444-8968-BF22585B14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28145" y="6567589"/>
            <a:ext cx="286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[EVENT NAME]  [DATE]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77E463F-897D-E840-990E-1EA31520DE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67589"/>
            <a:ext cx="4805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5FC4A1-A2DE-4EB5-9A46-57D39B4235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462826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08760"/>
            <a:ext cx="3886200" cy="51354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08760"/>
            <a:ext cx="3886200" cy="51354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77170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82D8D2-D001-447A-9CC3-6A70A245A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[EVENT NAME]  [DATE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A0836A-9EC2-4646-A6C5-9387BF5F7E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8DB757-C18B-024A-B87B-4106DB5C635E}"/>
              </a:ext>
            </a:extLst>
          </p:cNvPr>
          <p:cNvSpPr/>
          <p:nvPr userDrawn="1"/>
        </p:nvSpPr>
        <p:spPr>
          <a:xfrm>
            <a:off x="0" y="0"/>
            <a:ext cx="9144000" cy="6362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744025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7E2D8CFC-3DEC-FD4D-96D7-7194133CD71D}"/>
              </a:ext>
            </a:extLst>
          </p:cNvPr>
          <p:cNvSpPr/>
          <p:nvPr userDrawn="1"/>
        </p:nvSpPr>
        <p:spPr>
          <a:xfrm>
            <a:off x="0" y="0"/>
            <a:ext cx="9144000" cy="478971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32B61A1D-A6C9-744B-8A85-17AC7E0D5A56}"/>
              </a:ext>
            </a:extLst>
          </p:cNvPr>
          <p:cNvSpPr/>
          <p:nvPr userDrawn="1"/>
        </p:nvSpPr>
        <p:spPr>
          <a:xfrm flipV="1">
            <a:off x="0" y="469706"/>
            <a:ext cx="9144000" cy="998377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C1FA3CD-B01F-DC44-8BC7-68255466CE53}"/>
              </a:ext>
            </a:extLst>
          </p:cNvPr>
          <p:cNvSpPr/>
          <p:nvPr userDrawn="1"/>
        </p:nvSpPr>
        <p:spPr>
          <a:xfrm>
            <a:off x="-539388" y="-127453"/>
            <a:ext cx="1288868" cy="159366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747609-9833-467F-ADAA-9AD838BECE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27716345"/>
              </p:ext>
            </p:extLst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747609-9833-467F-ADAA-9AD838BE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DC626B4-3FDA-42D9-90C5-C9E389B82763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40513" y="1508760"/>
            <a:ext cx="8222925" cy="495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B842DD3-1F47-49B9-8BEC-7D41C6439C24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5828145" y="6567589"/>
            <a:ext cx="286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[EVENT NAME]  [DATE]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65FD2D-E7F9-42B7-BFD9-48910D97D38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8663437" y="6567589"/>
            <a:ext cx="4805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5FC4A1-A2DE-4EB5-9A46-57D39B4235EC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4C7278D-9D52-4F44-9B05-6B28B38BBC0A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273498" y="122216"/>
            <a:ext cx="449083" cy="215793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E031173-76F9-0B4F-ADB8-48A4534C30F2}"/>
              </a:ext>
            </a:extLst>
          </p:cNvPr>
          <p:cNvCxnSpPr/>
          <p:nvPr userDrawn="1"/>
        </p:nvCxnSpPr>
        <p:spPr>
          <a:xfrm flipV="1">
            <a:off x="0" y="412750"/>
            <a:ext cx="9144000" cy="990786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6C55FC23-F9BC-A94F-8AD6-09F5A1F6773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9330" y="431503"/>
            <a:ext cx="565670" cy="989068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83A96E6-6F6D-8449-930B-00072C356C7C}"/>
              </a:ext>
            </a:extLst>
          </p:cNvPr>
          <p:cNvCxnSpPr>
            <a:stCxn id="8" idx="0"/>
          </p:cNvCxnSpPr>
          <p:nvPr userDrawn="1"/>
        </p:nvCxnSpPr>
        <p:spPr>
          <a:xfrm flipV="1">
            <a:off x="0" y="473075"/>
            <a:ext cx="9144000" cy="995008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819807" y="208455"/>
            <a:ext cx="7371956" cy="7679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0884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5" r:id="rId5"/>
  </p:sldLayoutIdLst>
  <p:transition spd="med">
    <p:fade/>
  </p:transition>
  <p:hf hdr="0" ftr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38" indent="-171438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1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86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35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C812F8B-2EF6-0C48-B62F-F33EBB9687F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0663" t="1445" r="10663"/>
          <a:stretch>
            <a:fillRect/>
          </a:stretch>
        </p:blipFill>
        <p:spPr>
          <a:xfrm>
            <a:off x="0" y="0"/>
            <a:ext cx="9144000" cy="515084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04C59E1-3B19-0D40-B987-2944D4246F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9924" y="1560352"/>
            <a:ext cx="1604880" cy="280611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D1A6E58-379A-954B-8D70-B060637170A2}"/>
              </a:ext>
            </a:extLst>
          </p:cNvPr>
          <p:cNvSpPr/>
          <p:nvPr/>
        </p:nvSpPr>
        <p:spPr>
          <a:xfrm>
            <a:off x="0" y="5112218"/>
            <a:ext cx="9144000" cy="1745782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7DFF0CA6-E303-2348-B796-6D178EB6E4D3}"/>
              </a:ext>
            </a:extLst>
          </p:cNvPr>
          <p:cNvSpPr/>
          <p:nvPr/>
        </p:nvSpPr>
        <p:spPr>
          <a:xfrm flipH="1">
            <a:off x="0" y="4152463"/>
            <a:ext cx="9144000" cy="998377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F7D5242-B4D2-1646-89B9-3E03D1D54BCE}"/>
              </a:ext>
            </a:extLst>
          </p:cNvPr>
          <p:cNvCxnSpPr/>
          <p:nvPr/>
        </p:nvCxnSpPr>
        <p:spPr>
          <a:xfrm flipV="1">
            <a:off x="0" y="4268039"/>
            <a:ext cx="9144000" cy="990786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7E150B4-CE81-B645-B8DD-D661ADB3040F}"/>
              </a:ext>
            </a:extLst>
          </p:cNvPr>
          <p:cNvCxnSpPr/>
          <p:nvPr/>
        </p:nvCxnSpPr>
        <p:spPr>
          <a:xfrm flipV="1">
            <a:off x="0" y="4110728"/>
            <a:ext cx="9144000" cy="995008"/>
          </a:xfrm>
          <a:prstGeom prst="line">
            <a:avLst/>
          </a:prstGeom>
          <a:ln w="698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8790" y="5615189"/>
            <a:ext cx="6593548" cy="1077159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it" sz="2200" b="1" i="0" strike="noStrike" cap="none" spc="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Prevenzione di discriminazioni e molestie - </a:t>
            </a:r>
            <a:endParaRPr lang="en-US" sz="2200" b="1">
              <a:solidFill>
                <a:schemeClr val="bg1"/>
              </a:solidFill>
            </a:endParaRPr>
          </a:p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it" sz="2200" b="1" i="0" strike="noStrike" cap="none" spc="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Formazione sulla conformità FY24</a:t>
            </a:r>
            <a:endParaRPr lang="en-US" sz="22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42425E-A48E-8D44-A86D-85D3E13207A7}"/>
              </a:ext>
            </a:extLst>
          </p:cNvPr>
          <p:cNvSpPr txBox="1"/>
          <p:nvPr/>
        </p:nvSpPr>
        <p:spPr>
          <a:xfrm>
            <a:off x="394768" y="421272"/>
            <a:ext cx="3699545" cy="51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" sz="2800" b="1" i="0" strike="noStrike" cap="none" spc="0" baseline="0">
                <a:solidFill>
                  <a:srgbClr val="FFFFFF"/>
                </a:solidFill>
                <a:effectLst>
                  <a:outerShdw blurRad="50800" dist="38100" dir="2700000" algn="tl" rotWithShape="0">
                    <a:srgbClr val="000000">
                      <a:alpha val="40000"/>
                    </a:srgbClr>
                  </a:outerShdw>
                </a:effectLst>
                <a:latin typeface="Calibri"/>
                <a:ea typeface="Calibri"/>
                <a:cs typeface="Calibri"/>
              </a:rPr>
              <a:t>IL VALORE DI 168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81D68DD-7A28-DF47-ABBD-D69140B4E63D}"/>
              </a:ext>
            </a:extLst>
          </p:cNvPr>
          <p:cNvCxnSpPr/>
          <p:nvPr/>
        </p:nvCxnSpPr>
        <p:spPr>
          <a:xfrm>
            <a:off x="397564" y="921937"/>
            <a:ext cx="282915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09E664D-F33C-9D48-8022-9E0FE5BA76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95029" y="366842"/>
            <a:ext cx="1194670" cy="574062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B091654-56DC-5146-B9A1-A4907B645E15}"/>
              </a:ext>
            </a:extLst>
          </p:cNvPr>
          <p:cNvCxnSpPr>
            <a:stCxn id="15" idx="0"/>
          </p:cNvCxnSpPr>
          <p:nvPr/>
        </p:nvCxnSpPr>
        <p:spPr>
          <a:xfrm flipH="1">
            <a:off x="9144000" y="4152463"/>
            <a:ext cx="0" cy="3369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086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40FB64-517A-045C-1638-7D89A7730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Stereotipi di gen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65E14-FCB1-3B13-D835-D59B6037D2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graphicFrame>
        <p:nvGraphicFramePr>
          <p:cNvPr id="13" name="TextBox 9">
            <a:extLst>
              <a:ext uri="{FF2B5EF4-FFF2-40B4-BE49-F238E27FC236}">
                <a16:creationId xmlns:a16="http://schemas.microsoft.com/office/drawing/2014/main" id="{A605F809-B93D-1529-EAB4-05210895DD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0534095"/>
              </p:ext>
            </p:extLst>
          </p:nvPr>
        </p:nvGraphicFramePr>
        <p:xfrm>
          <a:off x="432562" y="1508760"/>
          <a:ext cx="8074836" cy="4842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29028075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BF7C06-45B6-945D-F08D-4AAB849266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/>
          <a:p>
            <a:r>
              <a:rPr lang="it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VERO O FALSO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823FF2-551E-7D6F-6CCD-EA59870F37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e molestie, comprese le molestie sessuali, sono solitamente solo un problema per la persona oggetto di una condotta impropria.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887C8EDA-FA8D-283E-29C1-6B273725AD7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071407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45B0CF-AD71-9F8C-FFBD-862027E1DE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/>
          <a:p>
            <a:r>
              <a:rPr lang="it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Risposta..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0FB85F-FAA5-6EF4-2934-3E9F00A245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 dichiarazione di cui sopra è </a:t>
            </a:r>
            <a:r>
              <a:rPr lang="it" sz="1800" b="0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Falso.</a:t>
            </a:r>
          </a:p>
          <a:p>
            <a:pPr marL="0" indent="0">
              <a:buNone/>
            </a:pPr>
            <a:endParaRPr lang="en-GB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e molestie hanno un impatto sull’obiettivo della condotta impropria. Ma ha anche un impatto sugli altri e invia un messaggio su ciò che è e non va bene sul posto di lavoro a chiunque lo veda o ne apprenda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721FA72F-4212-FE12-1424-62C3FEE3D4ED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38CE618F-A5D6-E7C6-2EA4-C0E26217EC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849477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189488-AD7C-C86B-4344-F39C58EFA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Molestie sessuali: riesci a individuarle? 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2A181491-B689-7B55-6950-8F5EF03E8E8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graphicFrame>
        <p:nvGraphicFramePr>
          <p:cNvPr id="8" name="TextBox 5">
            <a:extLst>
              <a:ext uri="{FF2B5EF4-FFF2-40B4-BE49-F238E27FC236}">
                <a16:creationId xmlns:a16="http://schemas.microsoft.com/office/drawing/2014/main" id="{25435880-DE83-4AE6-0C0C-E8BEDD1254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9789736"/>
              </p:ext>
            </p:extLst>
          </p:nvPr>
        </p:nvGraphicFramePr>
        <p:xfrm>
          <a:off x="628650" y="2203704"/>
          <a:ext cx="7866126" cy="44404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2F99416-9CFC-4A6D-56C2-F38A9754D7B6}"/>
              </a:ext>
            </a:extLst>
          </p:cNvPr>
          <p:cNvSpPr txBox="1"/>
          <p:nvPr/>
        </p:nvSpPr>
        <p:spPr>
          <a:xfrm>
            <a:off x="628650" y="1765218"/>
            <a:ext cx="8282178" cy="6400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/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hiunque può essere coinvolto in molestie sessuali e chiunque può essere l’obiettivo, tra cui:</a:t>
            </a:r>
          </a:p>
        </p:txBody>
      </p:sp>
    </p:spTree>
    <p:extLst>
      <p:ext uri="{BB962C8B-B14F-4D97-AF65-F5344CB8AC3E}">
        <p14:creationId xmlns:p14="http://schemas.microsoft.com/office/powerpoint/2010/main" val="969127443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D89D8-C4F0-F31B-727F-15B2F6DC5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Linguaggio e commenti inappropriat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675047-B99C-FF66-70F8-F831DAF176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it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Uno di questi scenari è inappropriato?</a:t>
            </a:r>
          </a:p>
          <a:p>
            <a:endParaRPr lang="en-GB"/>
          </a:p>
          <a:p>
            <a:pPr marL="685775" lvl="1" indent="-342900">
              <a:buFont typeface="+mj-lt"/>
              <a:buAutoNum type="arabicPeriod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Un fornitore contatta senza autorizzazione il viso di un altro dipendente per rimuovere una ciglia.</a:t>
            </a:r>
          </a:p>
          <a:p>
            <a:pPr marL="685775" lvl="1" indent="-342900">
              <a:buFont typeface="+mj-lt"/>
              <a:buAutoNum type="arabicPeriod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Un manager incoraggia un dipendente a usare il suo “canone femminile” per fare un punto in una riunione.</a:t>
            </a:r>
          </a:p>
          <a:p>
            <a:pPr marL="685775" lvl="1" indent="-342900">
              <a:buFont typeface="+mj-lt"/>
              <a:buAutoNum type="arabicPeriod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Un collega fa un commento sullo stato non binario di un cliente... “È solo una tendenza”... “Lei, lei, loro... Oh, qualunque cosa!”</a:t>
            </a:r>
          </a:p>
          <a:p>
            <a:pPr lvl="1"/>
            <a:endParaRPr lang="en-GB"/>
          </a:p>
          <a:p>
            <a:pPr marL="342875" lvl="1" indent="0">
              <a:buNone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RISPOSTA ... </a:t>
            </a:r>
            <a:r>
              <a:rPr lang="it" sz="1800" b="1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SÌ! </a:t>
            </a:r>
          </a:p>
          <a:p>
            <a:pPr marL="342875" lvl="1" indent="0">
              <a:buNone/>
            </a:pPr>
            <a:endParaRPr lang="en-GB" b="1">
              <a:solidFill>
                <a:srgbClr val="FF0000"/>
              </a:solidFill>
            </a:endParaRPr>
          </a:p>
          <a:p>
            <a:pPr marL="342875" lvl="1" indent="0">
              <a:buNone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Ricorda... Le molestie sessuali possono includere comportamenti sgraditi o offensivi diretti a:</a:t>
            </a:r>
          </a:p>
          <a:p>
            <a:pPr marL="342875" lvl="1" indent="0">
              <a:buNone/>
            </a:pPr>
            <a:endParaRPr lang="en-GB"/>
          </a:p>
          <a:p>
            <a:pPr marL="342875" lvl="1" indent="0">
              <a:buNone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	- Identità di genere</a:t>
            </a:r>
          </a:p>
          <a:p>
            <a:pPr marL="342875" lvl="1" indent="0">
              <a:buNone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	- Espressione di genere </a:t>
            </a:r>
          </a:p>
          <a:p>
            <a:pPr marL="342875" lvl="1" indent="0">
              <a:buNone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	- Stato transgender</a:t>
            </a:r>
          </a:p>
          <a:p>
            <a:pPr marL="342875" lvl="1" indent="0">
              <a:buNone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	- Orientamento sessua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B0E1BA-5FF0-2785-4FDB-357BAF0F1F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0264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3BD99-728D-2A6F-22A6-5226E04A7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Ambiente di lavoro osti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0333A6-3546-C11B-87C7-BE48050D68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15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5DFE61-20E0-D5EC-D0CE-22F6BE2E082B}"/>
              </a:ext>
            </a:extLst>
          </p:cNvPr>
          <p:cNvSpPr txBox="1"/>
          <p:nvPr/>
        </p:nvSpPr>
        <p:spPr>
          <a:xfrm>
            <a:off x="371440" y="6305788"/>
            <a:ext cx="8261946" cy="640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" sz="1800" b="0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Usa sempre il tuo miglior giudizio per assicurarti che il tuo comportamento sia rispettos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7710745-2062-F17B-E90E-EA2A4D39D9B6}"/>
              </a:ext>
            </a:extLst>
          </p:cNvPr>
          <p:cNvSpPr txBox="1"/>
          <p:nvPr/>
        </p:nvSpPr>
        <p:spPr>
          <a:xfrm>
            <a:off x="822960" y="1528468"/>
            <a:ext cx="7847861" cy="640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Esempi di comportamenti che possono portare a un ambiente di lavoro ostile includono...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F066EC6C-DCB6-3357-ABD4-0298BB5F32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2057356"/>
              </p:ext>
            </p:extLst>
          </p:nvPr>
        </p:nvGraphicFramePr>
        <p:xfrm>
          <a:off x="905521" y="1897800"/>
          <a:ext cx="7084381" cy="46288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94826995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D93504-B4E9-2A53-F774-60838F5F40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anchor="ctr">
            <a:normAutofit/>
          </a:bodyPr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In sede o fuori sed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041D41-19C3-C0F8-D7C8-57DBB24DE4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6</a:t>
            </a:fld>
            <a:endParaRPr lang="en-US"/>
          </a:p>
        </p:txBody>
      </p:sp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A18E2935-DEEB-A2F1-2E13-5C287F21984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59020485"/>
              </p:ext>
            </p:extLst>
          </p:nvPr>
        </p:nvGraphicFramePr>
        <p:xfrm>
          <a:off x="1553473" y="2221778"/>
          <a:ext cx="5751576" cy="38088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617987A-B474-0F02-9399-C3497F7BC0B9}"/>
              </a:ext>
            </a:extLst>
          </p:cNvPr>
          <p:cNvSpPr txBox="1"/>
          <p:nvPr/>
        </p:nvSpPr>
        <p:spPr>
          <a:xfrm>
            <a:off x="1989670" y="1620274"/>
            <a:ext cx="4879181" cy="640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" sz="18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e leggi e le nostre politiche si applicano anche fuori sede, tra cui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5B49E7-54D4-4F8F-19AA-C7F830247548}"/>
              </a:ext>
            </a:extLst>
          </p:cNvPr>
          <p:cNvSpPr txBox="1"/>
          <p:nvPr/>
        </p:nvSpPr>
        <p:spPr>
          <a:xfrm>
            <a:off x="551000" y="6125592"/>
            <a:ext cx="8042000" cy="640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" sz="18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e leggi e le nostre politiche si applicano a tutti, indipendentemente da dove potrebbero lavorare</a:t>
            </a:r>
          </a:p>
        </p:txBody>
      </p:sp>
    </p:spTree>
    <p:extLst>
      <p:ext uri="{BB962C8B-B14F-4D97-AF65-F5344CB8AC3E}">
        <p14:creationId xmlns:p14="http://schemas.microsoft.com/office/powerpoint/2010/main" val="298079491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F838BE-D35C-18F4-DD18-076F9D973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Discriminazion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EE7B1D-3612-EFA3-F9DC-ECF372B09B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17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66F432-C4F6-FCEE-F1EB-C13A0EC3264F}"/>
              </a:ext>
            </a:extLst>
          </p:cNvPr>
          <p:cNvSpPr txBox="1"/>
          <p:nvPr/>
        </p:nvSpPr>
        <p:spPr>
          <a:xfrm>
            <a:off x="639192" y="2024108"/>
            <a:ext cx="3357166" cy="47548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 discriminazione può influire su importanti decisioni lavorative su come le persone ottengono:</a:t>
            </a:r>
          </a:p>
          <a:p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ssun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ziona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aga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romoss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Retrocessione</a:t>
            </a:r>
          </a:p>
          <a:p>
            <a:endParaRPr lang="en-US"/>
          </a:p>
          <a:p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e leggi vietano le decisioni basate su motivi protetti.</a:t>
            </a:r>
          </a:p>
          <a:p>
            <a:endParaRPr lang="en-US"/>
          </a:p>
          <a:p>
            <a:endParaRPr lang="en-US"/>
          </a:p>
        </p:txBody>
      </p:sp>
      <p:pic>
        <p:nvPicPr>
          <p:cNvPr id="9" name="Content Placeholder 8" descr="A person and person shaking hands&#10;&#10;Description automatically generated">
            <a:extLst>
              <a:ext uri="{FF2B5EF4-FFF2-40B4-BE49-F238E27FC236}">
                <a16:creationId xmlns:a16="http://schemas.microsoft.com/office/drawing/2014/main" id="{9C1D1F2A-121C-6765-A5A7-1F5882EF555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72000" y="2152325"/>
            <a:ext cx="4140200" cy="3105150"/>
          </a:xfrm>
        </p:spPr>
      </p:pic>
    </p:spTree>
    <p:extLst>
      <p:ext uri="{BB962C8B-B14F-4D97-AF65-F5344CB8AC3E}">
        <p14:creationId xmlns:p14="http://schemas.microsoft.com/office/powerpoint/2010/main" val="981669481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74E336-4484-55C6-395A-D378598BF4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Mollismo sul posto di lavor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7FEABC1-0E2B-CA86-F809-3DA3A9B36182}"/>
              </a:ext>
            </a:extLst>
          </p:cNvPr>
          <p:cNvSpPr txBox="1"/>
          <p:nvPr/>
        </p:nvSpPr>
        <p:spPr>
          <a:xfrm>
            <a:off x="628650" y="1508760"/>
            <a:ext cx="3886200" cy="5135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it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 politica di RPM proibisce comportamenti abusivi, come:</a:t>
            </a:r>
          </a:p>
          <a:p>
            <a:pPr defTabSz="685749">
              <a:lnSpc>
                <a:spcPct val="90000"/>
              </a:lnSpc>
              <a:spcBef>
                <a:spcPts val="750"/>
              </a:spcBef>
            </a:pPr>
            <a:endParaRPr lang="en-US" sz="2100"/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it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Mollismo sul posto di lavoro</a:t>
            </a:r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it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Molestie morali</a:t>
            </a:r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it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Molestie psicologiche</a:t>
            </a:r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it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Vittimizzazione</a:t>
            </a:r>
            <a:endParaRPr lang="en-US" sz="2100"/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endParaRPr lang="en-US" sz="2100"/>
          </a:p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it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I comportamenti abusivi non saranno tollerati e possono comportare provvedimenti disciplinari e persino il licenziamento. </a:t>
            </a:r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670D2939-C375-9080-79F4-79D7BEEB615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670412" y="1508125"/>
            <a:ext cx="3803676" cy="5135563"/>
          </a:xfrm>
        </p:spPr>
      </p:pic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1CE12886-C52E-1C5C-F8AC-E1C4DF71345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236543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4E63CD8-53B4-AF1A-FBA4-05945FE997A1}"/>
              </a:ext>
            </a:extLst>
          </p:cNvPr>
          <p:cNvSpPr txBox="1"/>
          <p:nvPr/>
        </p:nvSpPr>
        <p:spPr>
          <a:xfrm>
            <a:off x="431800" y="1508125"/>
            <a:ext cx="4071938" cy="48418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/>
          <a:p>
            <a:pPr defTabSz="685749">
              <a:lnSpc>
                <a:spcPct val="90000"/>
              </a:lnSpc>
              <a:spcAft>
                <a:spcPts val="600"/>
              </a:spcAft>
            </a:pPr>
            <a:r>
              <a:rPr lang="it" sz="26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Scenario:</a:t>
            </a:r>
          </a:p>
          <a:p>
            <a:pPr indent="-171438" defTabSz="685749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600"/>
          </a:p>
          <a:p>
            <a:pPr defTabSz="685749">
              <a:lnSpc>
                <a:spcPct val="90000"/>
              </a:lnSpc>
              <a:spcAft>
                <a:spcPts val="600"/>
              </a:spcAft>
            </a:pPr>
            <a:r>
              <a:rPr lang="it" sz="26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Qualcuno al tuo lavoro fa uno scherzo fuori colore e lo difende dicendo di averlo sentito in una recente partita di calcio. </a:t>
            </a:r>
          </a:p>
          <a:p>
            <a:pPr indent="-171438" defTabSz="685749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600"/>
          </a:p>
          <a:p>
            <a:pPr defTabSz="685749">
              <a:lnSpc>
                <a:spcPct val="90000"/>
              </a:lnSpc>
              <a:spcAft>
                <a:spcPts val="600"/>
              </a:spcAft>
            </a:pPr>
            <a:r>
              <a:rPr lang="it" sz="2600" b="0" i="1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Ritiene che sia appropriato ripetere battute di questa natura sul posto di lavoro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525208C-D97C-1080-772A-E506B67C4128}"/>
              </a:ext>
            </a:extLst>
          </p:cNvPr>
          <p:cNvSpPr txBox="1"/>
          <p:nvPr/>
        </p:nvSpPr>
        <p:spPr>
          <a:xfrm>
            <a:off x="4880191" y="1508124"/>
            <a:ext cx="3927475" cy="4841875"/>
          </a:xfrm>
          <a:prstGeom prst="rect">
            <a:avLst/>
          </a:prstGeom>
          <a:noFill/>
        </p:spPr>
        <p:txBody>
          <a:bodyPr wrap="square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it" sz="26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Risposta:</a:t>
            </a:r>
          </a:p>
          <a:p>
            <a:pPr>
              <a:spcAft>
                <a:spcPts val="600"/>
              </a:spcAft>
            </a:pPr>
            <a:endParaRPr lang="en-GB" sz="2600"/>
          </a:p>
          <a:p>
            <a:pPr>
              <a:spcAft>
                <a:spcPts val="600"/>
              </a:spcAft>
            </a:pPr>
            <a:r>
              <a:rPr lang="it" sz="26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Il comportamento offensivo non va mai bene in un ambiente di lavoro, anche se alcuni lo considerano accettabile in altri contesti o ad altri destinatari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4F93A6-6B68-6A51-4F34-80231D8C0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Personale vs lavor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BF4237-341B-E413-CBB8-087B15F184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014508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50D3AE-8EA9-876D-8F7D-D72B87626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Prevenzione di discriminazioni e molestie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27906F-DB2C-FA2B-83AB-BA4E1ACCE5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2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671493-6848-DBAF-4C09-CA1EE485840B}"/>
              </a:ext>
            </a:extLst>
          </p:cNvPr>
          <p:cNvSpPr txBox="1"/>
          <p:nvPr/>
        </p:nvSpPr>
        <p:spPr>
          <a:xfrm>
            <a:off x="299213" y="2026062"/>
            <a:ext cx="8604504" cy="47548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" sz="18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ontenuti del corso</a:t>
            </a:r>
          </a:p>
          <a:p>
            <a:endParaRPr lang="en-GB"/>
          </a:p>
          <a:p>
            <a:pPr marL="342900" indent="-342900">
              <a:buFont typeface="+mj-lt"/>
              <a:buAutoNum type="arabicPeriod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he cos’è la molestia e la discriminazione?</a:t>
            </a:r>
          </a:p>
          <a:p>
            <a:pPr marL="342900" indent="-342900">
              <a:buFont typeface="+mj-lt"/>
              <a:buAutoNum type="arabicPeriod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omprendere i terreni protetti </a:t>
            </a:r>
          </a:p>
          <a:p>
            <a:pPr marL="342900" indent="-342900">
              <a:buFont typeface="+mj-lt"/>
              <a:buAutoNum type="arabicPeriod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Molestie sessuali</a:t>
            </a:r>
          </a:p>
          <a:p>
            <a:pPr marL="342900" indent="-342900">
              <a:buFont typeface="+mj-lt"/>
              <a:buAutoNum type="arabicPeriod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Quid Pro Quo / Ambiente di lavoro ostile </a:t>
            </a:r>
          </a:p>
          <a:p>
            <a:pPr marL="342900" indent="-342900">
              <a:buFont typeface="+mj-lt"/>
              <a:buAutoNum type="arabicPeriod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Discriminazione</a:t>
            </a:r>
          </a:p>
          <a:p>
            <a:pPr marL="342900" indent="-342900">
              <a:buFont typeface="+mj-lt"/>
              <a:buAutoNum type="arabicPeriod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omportamento inappropriato</a:t>
            </a:r>
          </a:p>
          <a:p>
            <a:pPr marL="342900" indent="-342900">
              <a:buFont typeface="+mj-lt"/>
              <a:buAutoNum type="arabicPeriod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Bullismo sul posto di lavoro</a:t>
            </a:r>
          </a:p>
          <a:p>
            <a:pPr marL="342900" indent="-342900">
              <a:buFont typeface="+mj-lt"/>
              <a:buAutoNum type="arabicPeriod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Individuazione di comportamenti sgraditi</a:t>
            </a:r>
          </a:p>
          <a:p>
            <a:pPr marL="342900" indent="-342900">
              <a:buFont typeface="+mj-lt"/>
              <a:buAutoNum type="arabicPeriod"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Sollevamento di preoccupazioni e ritorsioni</a:t>
            </a:r>
          </a:p>
          <a:p>
            <a:pPr marL="342900" indent="-342900">
              <a:buFont typeface="+mj-lt"/>
              <a:buAutoNum type="arabicPeriod"/>
            </a:pPr>
            <a:endParaRPr lang="en-GB"/>
          </a:p>
          <a:p>
            <a:r>
              <a:rPr lang="it" sz="18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In caso di domande sulla formazione o su come si applicano requisiti locali specifici, parlate con il vostro manager, con le Risorse Umane o contattate </a:t>
            </a:r>
            <a:r>
              <a:rPr lang="it" sz="1800" b="1" i="0" strike="noStrike" cap="none" spc="0" baseline="0">
                <a:solidFill>
                  <a:srgbClr val="008AFF"/>
                </a:solidFill>
                <a:effectLst/>
                <a:latin typeface="Calibri"/>
                <a:ea typeface="Calibri"/>
                <a:cs typeface="Calibri"/>
              </a:rPr>
              <a:t>compliance@rpminc.com</a:t>
            </a:r>
          </a:p>
          <a:p>
            <a:pPr marL="342900" indent="-342900">
              <a:buFont typeface="+mj-lt"/>
              <a:buAutoNum type="arabicPeriod"/>
            </a:pPr>
            <a:endParaRPr lang="en-GB"/>
          </a:p>
          <a:p>
            <a:pPr marL="342900" indent="-342900">
              <a:buFont typeface="+mj-lt"/>
              <a:buAutoNum type="arabicPeriod"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898915"/>
      </p:ext>
    </p:extLst>
  </p:cSld>
  <p:clrMapOvr>
    <a:masterClrMapping/>
  </p:clrMapOvr>
  <p:transition spd="med"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ED5DCA-792C-6FB9-BAC9-D3F76F7F95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Condurre le impostazioni sul lavoro: domanda da porsi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BAD8F0-78CD-0417-D5E3-330EB51977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  <p:graphicFrame>
        <p:nvGraphicFramePr>
          <p:cNvPr id="18" name="TextBox 8">
            <a:extLst>
              <a:ext uri="{FF2B5EF4-FFF2-40B4-BE49-F238E27FC236}">
                <a16:creationId xmlns:a16="http://schemas.microsoft.com/office/drawing/2014/main" id="{F2583A9D-281C-4C52-9347-26153EBC05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2389927"/>
              </p:ext>
            </p:extLst>
          </p:nvPr>
        </p:nvGraphicFramePr>
        <p:xfrm>
          <a:off x="432562" y="1508760"/>
          <a:ext cx="8074836" cy="4842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1158308"/>
      </p:ext>
    </p:extLst>
  </p:cSld>
  <p:clrMapOvr>
    <a:masterClrMapping/>
  </p:clrMapOvr>
  <p:transition spd="med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1F89A-BFF8-A65E-BF48-AEE160C28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astante - individuare comportamenti sgradit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3BD1DC-4EC2-EFA1-8D3E-8824C47949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it" sz="16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I segnali possono essere sia verbali che non verbali</a:t>
            </a:r>
          </a:p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7514DD-D440-21D7-095B-70FC70BAC0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21</a:t>
            </a:fld>
            <a:endParaRPr lang="en-US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B3FD9947-2372-778F-84F0-D2FAEFF1D8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3162674"/>
              </p:ext>
            </p:extLst>
          </p:nvPr>
        </p:nvGraphicFramePr>
        <p:xfrm>
          <a:off x="822960" y="212703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537229"/>
      </p:ext>
    </p:extLst>
  </p:cSld>
  <p:clrMapOvr>
    <a:masterClrMapping/>
  </p:clrMapOvr>
  <p:transition spd="med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80F103-B53A-E0D6-FC92-E87A68ECF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Cosa fare se si osserva un comportamento inappropriato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FFE694-DF65-A7CA-A6CD-EE2D7965DCCB}"/>
              </a:ext>
            </a:extLst>
          </p:cNvPr>
          <p:cNvSpPr txBox="1"/>
          <p:nvPr/>
        </p:nvSpPr>
        <p:spPr>
          <a:xfrm>
            <a:off x="4857750" y="1280160"/>
            <a:ext cx="3886200" cy="51354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it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Dopo aver ricevuto un reclamo, RPM condurrà un’indagine tempestiva, approfondita e imparziale e adotterà le misure correttive necessarie e immediate. </a:t>
            </a:r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endParaRPr lang="en-US" sz="2100"/>
          </a:p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it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In alcune località, le persone che violano le leggi possono essere soggette a sanzioni civili e penali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CAC6A289-2555-7CE5-76F6-FCBF4B2E0BA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22</a:t>
            </a:fld>
            <a:endParaRPr lang="en-US"/>
          </a:p>
        </p:txBody>
      </p:sp>
      <p:graphicFrame>
        <p:nvGraphicFramePr>
          <p:cNvPr id="9" name="Content Placeholder 2">
            <a:extLst>
              <a:ext uri="{FF2B5EF4-FFF2-40B4-BE49-F238E27FC236}">
                <a16:creationId xmlns:a16="http://schemas.microsoft.com/office/drawing/2014/main" id="{35D2C2CD-0245-DEC8-473D-8517566B1470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178588699"/>
              </p:ext>
            </p:extLst>
          </p:nvPr>
        </p:nvGraphicFramePr>
        <p:xfrm>
          <a:off x="628650" y="1508760"/>
          <a:ext cx="3886200" cy="5135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61251587"/>
      </p:ext>
    </p:extLst>
  </p:cSld>
  <p:clrMapOvr>
    <a:masterClrMapping/>
  </p:clrMapOvr>
  <p:transition spd="med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B6B62-796B-C1D4-4763-5A20739A7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anchor="ctr">
            <a:normAutofit/>
          </a:bodyPr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Politica di non ritorsione di RPM 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C1BA9E3-9396-DBB5-8249-DC0FDEC133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508760"/>
            <a:ext cx="3886200" cy="5135424"/>
          </a:xfrm>
        </p:spPr>
        <p:txBody>
          <a:bodyPr>
            <a:normAutofit fontScale="95000"/>
          </a:bodyPr>
          <a:lstStyle/>
          <a:p>
            <a:pPr marL="0" indent="0">
              <a:buNone/>
            </a:pPr>
            <a:r>
              <a:rPr lang="it" sz="16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Se hai un dubbio o qualcosa non ti sembra giusto, parlane.</a:t>
            </a:r>
          </a:p>
          <a:p>
            <a:r>
              <a:rPr lang="it" sz="1600" b="0" i="0" strike="noStrike" cap="none" spc="0" baseline="0">
                <a:solidFill>
                  <a:srgbClr val="373535"/>
                </a:solidFill>
                <a:effectLst/>
                <a:latin typeface="Calibri"/>
                <a:ea typeface="Calibri"/>
                <a:cs typeface="Calibri"/>
              </a:rPr>
              <a:t>Potete segnalare la vostra preoccupazione al vostro responsabile, all’Ufficio Risorse umane, all’Ufficio legale e conformità o tramite la Hotline RPM.</a:t>
            </a:r>
          </a:p>
          <a:p>
            <a:endParaRPr lang="en-US" sz="1600">
              <a:solidFill>
                <a:srgbClr val="373535"/>
              </a:solidFill>
            </a:endParaRPr>
          </a:p>
          <a:p>
            <a:r>
              <a:rPr lang="it" sz="1600" b="0" i="0" strike="noStrike" cap="none" spc="0" baseline="0">
                <a:solidFill>
                  <a:srgbClr val="373535"/>
                </a:solidFill>
                <a:effectLst/>
                <a:latin typeface="Calibri"/>
                <a:ea typeface="Calibri"/>
                <a:cs typeface="Calibri"/>
              </a:rPr>
              <a:t>Tutte le segnalazioni in buona fede vengono prese seriamente e attentamente esaminate. Le segnalazioni di violazioni della legge, dei nostri Valori e aspettative del 168 o di comportamenti non etici saranno indagate tempestivamente e in modo appropriato.</a:t>
            </a:r>
          </a:p>
          <a:p>
            <a:endParaRPr lang="en-US" sz="1600"/>
          </a:p>
          <a:p>
            <a:pPr marL="0" marR="0" lvl="0" indent="0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it" sz="16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Se segnalate una condotta scorretta e la segnalate in buona fede, la politica di ritorsione di RPM vi vieta di essere licenziati, retrocessi, sospesi, rimproverati, disciplinati, trasferiti, minacciati, molestati o in qualsiasi modo discriminati per aver sollevato le vostre preoccupazioni. </a:t>
            </a:r>
          </a:p>
          <a:p>
            <a:pPr marL="57162" marR="0" indent="0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None/>
            </a:pPr>
            <a:endParaRPr lang="en-US" sz="1700" kern="1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/>
          </a:p>
        </p:txBody>
      </p:sp>
      <p:pic>
        <p:nvPicPr>
          <p:cNvPr id="6" name="Content Placeholder 5" descr="A poster of a company&#10;&#10;Description automatically generated">
            <a:extLst>
              <a:ext uri="{FF2B5EF4-FFF2-40B4-BE49-F238E27FC236}">
                <a16:creationId xmlns:a16="http://schemas.microsoft.com/office/drawing/2014/main" id="{486A5F75-0C93-46BB-29E1-EEFA342C3D92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629150" y="1511323"/>
            <a:ext cx="3886200" cy="5130297"/>
          </a:xfrm>
          <a:noFill/>
        </p:spPr>
      </p:pic>
    </p:spTree>
    <p:extLst>
      <p:ext uri="{BB962C8B-B14F-4D97-AF65-F5344CB8AC3E}">
        <p14:creationId xmlns:p14="http://schemas.microsoft.com/office/powerpoint/2010/main" val="3534279248"/>
      </p:ext>
    </p:extLst>
  </p:cSld>
  <p:clrMapOvr>
    <a:masterClrMapping/>
  </p:clrMapOvr>
  <p:transition spd="med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A7B45-5B3C-3DB0-1BE4-A2E8E5DFB9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anchor="ctr">
            <a:normAutofit/>
          </a:bodyPr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Ritorsioni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81DFAF-2C91-7422-79F7-D1B6D66C8A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24</a:t>
            </a:fld>
            <a:endParaRPr lang="en-US"/>
          </a:p>
        </p:txBody>
      </p:sp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A78DC15E-F928-C464-FBA0-36933CA4DB4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05503871"/>
              </p:ext>
            </p:extLst>
          </p:nvPr>
        </p:nvGraphicFramePr>
        <p:xfrm>
          <a:off x="432562" y="2160606"/>
          <a:ext cx="8074836" cy="43977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698B0EE6-D2E3-A34A-D0E6-B7CFF8ADAFCF}"/>
              </a:ext>
            </a:extLst>
          </p:cNvPr>
          <p:cNvSpPr txBox="1"/>
          <p:nvPr/>
        </p:nvSpPr>
        <p:spPr>
          <a:xfrm>
            <a:off x="432562" y="1470164"/>
            <a:ext cx="6995604" cy="365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Esempi di comportamento ritorsivo:</a:t>
            </a:r>
          </a:p>
        </p:txBody>
      </p:sp>
    </p:spTree>
    <p:extLst>
      <p:ext uri="{BB962C8B-B14F-4D97-AF65-F5344CB8AC3E}">
        <p14:creationId xmlns:p14="http://schemas.microsoft.com/office/powerpoint/2010/main" val="3114590533"/>
      </p:ext>
    </p:extLst>
  </p:cSld>
  <p:clrMapOvr>
    <a:masterClrMapping/>
  </p:clrMapOvr>
  <p:transition spd="med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00DF9-EC86-26D1-EB48-FAC8A23DB6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/>
          <a:p>
            <a:r>
              <a:rPr lang="it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Vero o falso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04A50-C316-495F-A22D-CFF6B8954D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Oltre ai manager, i colleghi possono intraprendere ritorsioni vietate. 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11DF32BB-A75F-A819-0F62-EAD6E91DC806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2ECA4A55-F7A7-46D2-6885-64D7C77172C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928972"/>
      </p:ext>
    </p:extLst>
  </p:cSld>
  <p:clrMapOvr>
    <a:masterClrMapping/>
  </p:clrMapOvr>
  <p:transition spd="med"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FC93E8-D982-EE5F-722D-C8FFD4B1FB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/>
          <a:p>
            <a:r>
              <a:rPr lang="it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Risposta..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CED9B-3AA4-6657-52D7-A3AE595B4F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’affermazione precedente è </a:t>
            </a:r>
            <a:r>
              <a:rPr lang="it" sz="1800" b="1" i="0" strike="noStrike" cap="none" spc="0" baseline="0">
                <a:solidFill>
                  <a:srgbClr val="548235"/>
                </a:solidFill>
                <a:effectLst/>
                <a:latin typeface="Calibri"/>
                <a:ea typeface="Calibri"/>
                <a:cs typeface="Calibri"/>
              </a:rPr>
              <a:t>Vero</a:t>
            </a: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.</a:t>
            </a:r>
          </a:p>
          <a:p>
            <a:pPr marL="0" indent="0">
              <a:buNone/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hiunque può commettere ritorsioni. Ciò include qualsiasi manager o collega che tratta qualcuno negativamente perché ha sollevato una preoccupazione o un reclamo in buona fede. 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8B475D77-4434-8297-1245-1F15891FDD89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A324A152-4068-BF32-861E-706313346D3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215164"/>
      </p:ext>
    </p:extLst>
  </p:cSld>
  <p:clrMapOvr>
    <a:masterClrMapping/>
  </p:clrMapOvr>
  <p:transition spd="med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0E09D-6897-4B77-6400-D2F29ADC8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" sz="21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Grazie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6490DC-2417-7F40-0F75-FE51C0D8A7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" sz="1900" b="0" i="0" strike="noStrike" cap="none" spc="0" baseline="0">
                <a:solidFill>
                  <a:srgbClr val="9DC3E6"/>
                </a:solidFill>
                <a:effectLst/>
                <a:latin typeface="Calibri"/>
                <a:ea typeface="Calibri"/>
                <a:cs typeface="Calibri"/>
              </a:rPr>
              <a:t>Eventuali domand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BFC064-E450-DFF8-1DE8-AA171D254DE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it" sz="900" b="0" i="0" strike="noStrike" cap="none" spc="0" baseline="0">
                <a:solidFill>
                  <a:srgbClr val="898989"/>
                </a:solidFill>
                <a:effectLst/>
                <a:latin typeface="Calibri"/>
                <a:ea typeface="Calibri"/>
                <a:cs typeface="Calibri"/>
              </a:rPr>
              <a:t>[NOME EVENTO] [DATA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E5CE9B-CFAD-F960-4423-47EF2ED4DC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846417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F4DD6-51D1-771A-AD6D-9F880AB71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anchor="ctr">
            <a:normAutofit/>
          </a:bodyPr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Prevenzione di discriminazioni e molesti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0A5B44-1D6A-1552-FB9B-24626E626C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59D3B30-F695-4079-1707-50E90A4119B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21243714"/>
              </p:ext>
            </p:extLst>
          </p:nvPr>
        </p:nvGraphicFramePr>
        <p:xfrm>
          <a:off x="432562" y="1508760"/>
          <a:ext cx="8074836" cy="4842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97889802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53D1B3-2675-F520-80FE-B41A6F28C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anchor="ctr">
            <a:normAutofit/>
          </a:bodyPr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Che cos’è la molestia e la discriminazione?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FB72F0-297D-5604-D514-2CB5A39DCC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4F99A9FE-9AEF-F820-F65C-BE5BE15E8F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1480152"/>
              </p:ext>
            </p:extLst>
          </p:nvPr>
        </p:nvGraphicFramePr>
        <p:xfrm>
          <a:off x="432562" y="1508760"/>
          <a:ext cx="8074836" cy="4842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26300358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0B15D-6946-CDFC-CF72-E48A4D07B9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Messa a terra protet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4B8F4E0-B73C-7243-2528-40AE79BB37BD}"/>
              </a:ext>
            </a:extLst>
          </p:cNvPr>
          <p:cNvSpPr txBox="1"/>
          <p:nvPr/>
        </p:nvSpPr>
        <p:spPr>
          <a:xfrm>
            <a:off x="5488686" y="1059066"/>
            <a:ext cx="3454146" cy="1554480"/>
          </a:xfrm>
          <a:prstGeom prst="rect">
            <a:avLst/>
          </a:prstGeom>
        </p:spPr>
        <p:txBody>
          <a:bodyPr vert="horz" lIns="91440" tIns="45720" rIns="91440" bIns="45720" rtlCol="0">
            <a:normAutofit fontScale="97500"/>
          </a:bodyPr>
          <a:lstStyle/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it" sz="2100" b="1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Ricorda:</a:t>
            </a:r>
          </a:p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it" sz="2100" b="1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Trattare tutti con rispetto. Non discriminare su un terreno protetto</a:t>
            </a:r>
          </a:p>
        </p:txBody>
      </p:sp>
      <p:graphicFrame>
        <p:nvGraphicFramePr>
          <p:cNvPr id="10" name="Content Placeholder 2">
            <a:extLst>
              <a:ext uri="{FF2B5EF4-FFF2-40B4-BE49-F238E27FC236}">
                <a16:creationId xmlns:a16="http://schemas.microsoft.com/office/drawing/2014/main" id="{504F7EF8-8C04-9AAF-56B7-B0D226A1EC06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50762908"/>
              </p:ext>
            </p:extLst>
          </p:nvPr>
        </p:nvGraphicFramePr>
        <p:xfrm>
          <a:off x="628650" y="2642616"/>
          <a:ext cx="8158734" cy="4001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979A9FCC-7447-B3A4-6B62-83027FAB83C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195FBB-B7DC-ED84-3875-07C254CEF76A}"/>
              </a:ext>
            </a:extLst>
          </p:cNvPr>
          <p:cNvSpPr txBox="1"/>
          <p:nvPr/>
        </p:nvSpPr>
        <p:spPr>
          <a:xfrm>
            <a:off x="628650" y="1639669"/>
            <a:ext cx="4213098" cy="640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 seconda del luogo di lavoro, questi motivi possono includere:</a:t>
            </a:r>
          </a:p>
        </p:txBody>
      </p:sp>
    </p:spTree>
    <p:extLst>
      <p:ext uri="{BB962C8B-B14F-4D97-AF65-F5344CB8AC3E}">
        <p14:creationId xmlns:p14="http://schemas.microsoft.com/office/powerpoint/2010/main" val="63271430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B3EB6-D382-7E5B-2128-1E2AD33871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Molestie sessuali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3AC1A7-2052-7988-8268-65113A2221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graphicFrame>
        <p:nvGraphicFramePr>
          <p:cNvPr id="11" name="TextBox 7">
            <a:extLst>
              <a:ext uri="{FF2B5EF4-FFF2-40B4-BE49-F238E27FC236}">
                <a16:creationId xmlns:a16="http://schemas.microsoft.com/office/drawing/2014/main" id="{29D13C8E-8DED-44C4-E9EA-CA8A2E5418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2310378"/>
              </p:ext>
            </p:extLst>
          </p:nvPr>
        </p:nvGraphicFramePr>
        <p:xfrm>
          <a:off x="432562" y="1508760"/>
          <a:ext cx="8074836" cy="4842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09587968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41066B-6332-D0B1-464F-82C26F9635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it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VERO O FALSO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39AE83-D0E3-35F9-4EDD-3B02A67DEA40}"/>
              </a:ext>
            </a:extLst>
          </p:cNvPr>
          <p:cNvSpPr txBox="1"/>
          <p:nvPr/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 defTabSz="685749">
              <a:lnSpc>
                <a:spcPct val="90000"/>
              </a:lnSpc>
              <a:spcBef>
                <a:spcPts val="750"/>
              </a:spcBef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Quando un dipendente è testimone di un comportamento molesto, un </a:t>
            </a:r>
            <a:r>
              <a:rPr lang="it" sz="18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manager</a:t>
            </a: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 è solitamente il malintenzionato.</a:t>
            </a:r>
            <a:endParaRPr lang="en-US" kern="120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68CECCB0-AD0A-475B-29B8-6C408B98E71A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23DB1538-D7D3-12C4-C7DC-486BD86701E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728087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B32729-D1A0-2498-9446-B4C38D0513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it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Risposta..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0F00E2-00FB-9955-A67E-6B6D62965415}"/>
              </a:ext>
            </a:extLst>
          </p:cNvPr>
          <p:cNvSpPr txBox="1"/>
          <p:nvPr/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 defTabSz="685749">
              <a:lnSpc>
                <a:spcPct val="90000"/>
              </a:lnSpc>
              <a:spcBef>
                <a:spcPts val="750"/>
              </a:spcBef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 dichiarazione di cui sopra è </a:t>
            </a:r>
            <a:r>
              <a:rPr lang="it" sz="1800" b="1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FALSA</a:t>
            </a:r>
          </a:p>
          <a:p>
            <a:pPr algn="ctr" defTabSz="685749">
              <a:lnSpc>
                <a:spcPct val="90000"/>
              </a:lnSpc>
              <a:spcBef>
                <a:spcPts val="750"/>
              </a:spcBef>
            </a:pPr>
            <a:endParaRPr lang="en-US" kern="1200">
              <a:latin typeface="+mn-lt"/>
              <a:ea typeface="+mn-ea"/>
              <a:cs typeface="+mn-cs"/>
            </a:endParaRPr>
          </a:p>
          <a:p>
            <a:pPr algn="ctr" defTabSz="685749">
              <a:lnSpc>
                <a:spcPct val="90000"/>
              </a:lnSpc>
              <a:spcBef>
                <a:spcPts val="750"/>
              </a:spcBef>
            </a:pPr>
            <a:r>
              <a:rPr lang="it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I colleghi hanno la stessa probabilità che i manager si impegnino in molestie.</a:t>
            </a:r>
            <a:endParaRPr lang="en-US" kern="1200">
              <a:latin typeface="+mn-lt"/>
              <a:ea typeface="+mn-ea"/>
              <a:cs typeface="+mn-cs"/>
            </a:endParaRP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2D90AD7F-E22E-A72A-71B9-E3A237FA468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071717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1902E-2637-717F-B53D-572920A6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Ambiente di lavoro osti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57ADB30-AA57-FF7E-1163-C8F0957A0B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39696"/>
            <a:ext cx="3886200" cy="5135424"/>
          </a:xfrm>
        </p:spPr>
        <p:txBody>
          <a:bodyPr/>
          <a:lstStyle/>
          <a:p>
            <a:pPr marL="0" indent="0">
              <a:buNone/>
            </a:pPr>
            <a:r>
              <a:rPr lang="it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Esempio (accumulo di commenti nel tempo)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it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            “Aspetto buono, ragazza”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it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“Perché non sorridi di più?”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r>
              <a:rPr lang="it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“Usa i tuoi ciondoli da bambino per aiutarti a fare la tua parte”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03DB67EF-BBA9-553C-40B3-F0F1A8116F29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5449FD41-97DA-B96E-E874-37F373C3A50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  <p:graphicFrame>
        <p:nvGraphicFramePr>
          <p:cNvPr id="11" name="TextBox 8">
            <a:extLst>
              <a:ext uri="{FF2B5EF4-FFF2-40B4-BE49-F238E27FC236}">
                <a16:creationId xmlns:a16="http://schemas.microsoft.com/office/drawing/2014/main" id="{5C8EE2C3-03A6-ABAF-3E18-D116DCC72F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2498296"/>
              </p:ext>
            </p:extLst>
          </p:nvPr>
        </p:nvGraphicFramePr>
        <p:xfrm>
          <a:off x="4629150" y="1508760"/>
          <a:ext cx="3886200" cy="5135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Cloud 9">
            <a:extLst>
              <a:ext uri="{FF2B5EF4-FFF2-40B4-BE49-F238E27FC236}">
                <a16:creationId xmlns:a16="http://schemas.microsoft.com/office/drawing/2014/main" id="{4973049F-7464-8CEC-6A0C-5251C1FF3DEA}"/>
              </a:ext>
            </a:extLst>
          </p:cNvPr>
          <p:cNvSpPr/>
          <p:nvPr/>
        </p:nvSpPr>
        <p:spPr>
          <a:xfrm>
            <a:off x="685800" y="2797131"/>
            <a:ext cx="2953511" cy="867042"/>
          </a:xfrm>
          <a:prstGeom prst="cloud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FC81ACA9-37AB-3848-2CFF-062B6FE76A28}"/>
              </a:ext>
            </a:extLst>
          </p:cNvPr>
          <p:cNvSpPr/>
          <p:nvPr/>
        </p:nvSpPr>
        <p:spPr>
          <a:xfrm>
            <a:off x="238010" y="3871686"/>
            <a:ext cx="3694176" cy="1049922"/>
          </a:xfrm>
          <a:prstGeom prst="cloud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Cloud 12">
            <a:extLst>
              <a:ext uri="{FF2B5EF4-FFF2-40B4-BE49-F238E27FC236}">
                <a16:creationId xmlns:a16="http://schemas.microsoft.com/office/drawing/2014/main" id="{1A002978-A98E-CB9D-6EC7-7BD47016C50B}"/>
              </a:ext>
            </a:extLst>
          </p:cNvPr>
          <p:cNvSpPr/>
          <p:nvPr/>
        </p:nvSpPr>
        <p:spPr>
          <a:xfrm>
            <a:off x="73151" y="4921608"/>
            <a:ext cx="4178808" cy="1482966"/>
          </a:xfrm>
          <a:prstGeom prst="cloud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1431200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OS" val="Unix 3.10.0.1160"/>
  <p:tag name="AS_RELEASE_DATE" val="2023.06.30"/>
  <p:tag name="AS_TITLE" val="Aspose.Slides for Java"/>
  <p:tag name="AS_VERSION" val="23.6"/>
  <p:tag name="THINKCELLPRESENTATIONDONOTDELETE" val="&lt;?xml version=&quot;1.0&quot; encoding=&quot;UTF-16&quot; standalone=&quot;yes&quot;?&gt;&lt;root reqver=&quot;24162&quot;&gt;&lt;version val=&quot;2702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5.94189690230814804295E+00&quot;&gt;&lt;m_msothmcolidx val=&quot;0&quot;/&gt;&lt;m_rgb r=&quot;20&quot; g=&quot;38&quot; b=&quot;64&quot;/&gt;&lt;m_nBrightness tagver0=&quot;26206&quot; tagname0=&quot;m_nBrightnessUNRECOGNIZED&quot; val=&quot;0&quot;/&gt;&lt;/elem&gt;&lt;elem m_fUsage=&quot;1.90876410999999990281E+00&quot;&gt;&lt;m_msothmcolidx val=&quot;0&quot;/&gt;&lt;m_rgb r=&quot;F6&quot; g=&quot;F3&quot; b=&quot;EB&quot;/&gt;&lt;m_nBrightness tagver0=&quot;26206&quot; tagname0=&quot;m_nBrightnessUNRECOGNIZED&quot; val=&quot;0&quot;/&gt;&lt;/elem&gt;&lt;elem m_fUsage=&quot;1.56784161766145224703E+00&quot;&gt;&lt;m_msothmcolidx val=&quot;0&quot;/&gt;&lt;m_rgb r=&quot;EB&quot; g=&quot;EE&quot; b=&quot;E6&quot;/&gt;&lt;m_nBrightness tagver0=&quot;26206&quot; tagname0=&quot;m_nBrightnessUNRECOGNIZED&quot;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Iik6J0SZG7_0mBG8Xg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cjQMEtRZ.C8u5DBhCD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Calibri Light" panose="020F0302020204030204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Calibri" panose="020F0502020204030204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PM IR PPT Standard - DRAFT - 12.14.18" id="{9CE6E63C-E94D-FB46-91E7-6AA3D17BB118}" vid="{90DFF340-5132-1E4A-9E8E-B23BC845A7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Calibri Light" panose="020F0302020204030204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Calibri" panose="020F0502020204030204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90C2D6ED61D4479406C8DA89CF0878" ma:contentTypeVersion="18" ma:contentTypeDescription="Create a new document." ma:contentTypeScope="" ma:versionID="9fab1500bc2d3a4d890516a255717ef1">
  <xsd:schema xmlns:xsd="http://www.w3.org/2001/XMLSchema" xmlns:xs="http://www.w3.org/2001/XMLSchema" xmlns:p="http://schemas.microsoft.com/office/2006/metadata/properties" xmlns:ns2="d7a05af7-d3ec-4963-864c-209504fa34de" xmlns:ns3="2ed82cd1-6b84-4a0b-9746-0d197a81b83d" targetNamespace="http://schemas.microsoft.com/office/2006/metadata/properties" ma:root="true" ma:fieldsID="1d2897f00ee0e34ba7a8446ba2849d29" ns2:_="" ns3:_="">
    <xsd:import namespace="d7a05af7-d3ec-4963-864c-209504fa34de"/>
    <xsd:import namespace="2ed82cd1-6b84-4a0b-9746-0d197a81b83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a05af7-d3ec-4963-864c-209504fa34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ec43bc27-0046-4300-b48a-2db9dc89119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d82cd1-6b84-4a0b-9746-0d197a81b83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d7600404-635a-4f52-8c6e-abf865231489}" ma:internalName="TaxCatchAll" ma:showField="CatchAllData" ma:web="2ed82cd1-6b84-4a0b-9746-0d197a81b83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7a05af7-d3ec-4963-864c-209504fa34de">
      <Terms xmlns="http://schemas.microsoft.com/office/infopath/2007/PartnerControls"/>
    </lcf76f155ced4ddcb4097134ff3c332f>
    <TaxCatchAll xmlns="2ed82cd1-6b84-4a0b-9746-0d197a81b83d" xsi:nil="true"/>
  </documentManagement>
</p:properties>
</file>

<file path=customXml/itemProps1.xml><?xml version="1.0" encoding="utf-8"?>
<ds:datastoreItem xmlns:ds="http://schemas.openxmlformats.org/officeDocument/2006/customXml" ds:itemID="{716B392D-E5BF-4564-B6BF-23992C910A2D}">
  <ds:schemaRefs/>
</ds:datastoreItem>
</file>

<file path=customXml/itemProps2.xml><?xml version="1.0" encoding="utf-8"?>
<ds:datastoreItem xmlns:ds="http://schemas.openxmlformats.org/officeDocument/2006/customXml" ds:itemID="{FC480F10-BE65-4D28-A54D-405435C8ED7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56CADE9-4D3D-4C64-A002-EFFA1FA05E14}">
  <ds:schemaRefs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2f06a283-6e2a-4468-871b-e6c63acdb121"/>
    <ds:schemaRef ds:uri="f8d36d2f-c42f-4f1f-9b2f-abc69cc7a5ad"/>
    <ds:schemaRef ds:uri="http://www.w3.org/XML/1998/namespace"/>
    <ds:schemaRef ds:uri="d7a05af7-d3ec-4963-864c-209504fa34de"/>
    <ds:schemaRef ds:uri="2ed82cd1-6b84-4a0b-9746-0d197a81b83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PM IR PPT Standard - DRAFT - 12.14.18</Template>
  <TotalTime>12370</TotalTime>
  <Words>1741</Words>
  <Application>Microsoft Office PowerPoint</Application>
  <PresentationFormat>On-screen Show (4:3)</PresentationFormat>
  <Paragraphs>246</Paragraphs>
  <Slides>2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2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revenzione di discriminazioni e molestie </vt:lpstr>
      <vt:lpstr>Prevenzione di discriminazioni e molestie</vt:lpstr>
      <vt:lpstr>Che cos’è la molestia e la discriminazione? </vt:lpstr>
      <vt:lpstr>Messa a terra protetta</vt:lpstr>
      <vt:lpstr>Molestie sessuali</vt:lpstr>
      <vt:lpstr>VERO O FALSO?</vt:lpstr>
      <vt:lpstr>Risposta...</vt:lpstr>
      <vt:lpstr>Ambiente di lavoro ostile</vt:lpstr>
      <vt:lpstr>Stereotipi di genere</vt:lpstr>
      <vt:lpstr>VERO O FALSO?</vt:lpstr>
      <vt:lpstr>Risposta...</vt:lpstr>
      <vt:lpstr>Molestie sessuali: riesci a individuarle? </vt:lpstr>
      <vt:lpstr>Linguaggio e commenti inappropriati</vt:lpstr>
      <vt:lpstr>Ambiente di lavoro ostile</vt:lpstr>
      <vt:lpstr>In sede o fuori sede</vt:lpstr>
      <vt:lpstr>Discriminazione</vt:lpstr>
      <vt:lpstr>Mollismo sul posto di lavoro</vt:lpstr>
      <vt:lpstr>Personale vs lavoro</vt:lpstr>
      <vt:lpstr>Condurre le impostazioni sul lavoro: domanda da porsi</vt:lpstr>
      <vt:lpstr>astante - individuare comportamenti sgraditi</vt:lpstr>
      <vt:lpstr>Cosa fare se si osserva un comportamento inappropriato</vt:lpstr>
      <vt:lpstr>Politica di non ritorsione di RPM </vt:lpstr>
      <vt:lpstr>Ritorsioni </vt:lpstr>
      <vt:lpstr>Vero o falso?</vt:lpstr>
      <vt:lpstr>Risposta...</vt:lpstr>
      <vt:lpstr>Grazie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ynn DeChant</dc:creator>
  <cp:lastModifiedBy>Shelley Earl</cp:lastModifiedBy>
  <cp:revision>36</cp:revision>
  <cp:lastPrinted>2020-04-30T20:14:04Z</cp:lastPrinted>
  <dcterms:created xsi:type="dcterms:W3CDTF">2018-12-18T18:53:57Z</dcterms:created>
  <dcterms:modified xsi:type="dcterms:W3CDTF">2024-03-25T18:3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590C2D6ED61D4479406C8DA89CF0878</vt:lpwstr>
  </property>
  <property fmtid="{D5CDD505-2E9C-101B-9397-08002B2CF9AE}" pid="3" name="MediaServiceImageTags">
    <vt:lpwstr/>
  </property>
</Properties>
</file>